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3" r:id="rId6"/>
    <p:sldMasterId id="2147483678" r:id="rId7"/>
  </p:sldMasterIdLst>
  <p:notesMasterIdLst>
    <p:notesMasterId r:id="rId23"/>
  </p:notesMasterIdLst>
  <p:sldIdLst>
    <p:sldId id="268" r:id="rId8"/>
    <p:sldId id="257" r:id="rId9"/>
    <p:sldId id="258" r:id="rId10"/>
    <p:sldId id="260" r:id="rId11"/>
    <p:sldId id="269" r:id="rId12"/>
    <p:sldId id="261" r:id="rId13"/>
    <p:sldId id="265" r:id="rId14"/>
    <p:sldId id="2147469400" r:id="rId15"/>
    <p:sldId id="262" r:id="rId16"/>
    <p:sldId id="2147469476" r:id="rId17"/>
    <p:sldId id="2147469478" r:id="rId18"/>
    <p:sldId id="263" r:id="rId19"/>
    <p:sldId id="264" r:id="rId20"/>
    <p:sldId id="5991" r:id="rId21"/>
    <p:sldId id="267" r:id="rId22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03E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3274" autoAdjust="0"/>
  </p:normalViewPr>
  <p:slideViewPr>
    <p:cSldViewPr snapToGrid="0">
      <p:cViewPr>
        <p:scale>
          <a:sx n="150" d="100"/>
          <a:sy n="150" d="100"/>
        </p:scale>
        <p:origin x="-3902" y="-232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explosion val="1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1-98B3-4677-BA8A-D85FDA3C72EF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98B3-4677-BA8A-D85FDA3C72EF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98B3-4677-BA8A-D85FDA3C72EF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7-98B3-4677-BA8A-D85FDA3C72EF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9-98B3-4677-BA8A-D85FDA3C72EF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B-98B3-4677-BA8A-D85FDA3C72EF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D-98B3-4677-BA8A-D85FDA3C72EF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F-98B3-4677-BA8A-D85FDA3C72EF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11-98B3-4677-BA8A-D85FDA3C72EF}"/>
              </c:ext>
            </c:extLst>
          </c:dPt>
          <c:cat>
            <c:strRef>
              <c:f>Sheet1!$B$1:$J$1</c:f>
              <c:strCach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11</c:v>
                </c:pt>
                <c:pt idx="1">
                  <c:v>11</c:v>
                </c:pt>
                <c:pt idx="2">
                  <c:v>11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8B3-4677-BA8A-D85FDA3C7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BA032E4D-9FFA-47FF-96A6-40C9F2FB0762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ABFD2EDF-23EA-40DA-8B4B-0891591D26C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80009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1721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Further to TAL’s holistic view on health we see the value of preventative engagement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TAL want to support employees in understanding potential health blind spots and potential actions that can be taken to ensure they are keeping healthy today, for a healthier tomorrow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Preventative health to TAL includes three pillars 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AU" dirty="0"/>
              <a:t>Be informed – understanding their risks and way to live a healthier life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AU" dirty="0"/>
              <a:t>Check yourself – completing regular preventative health screening exercises to allow earlier detection of potential conditions</a:t>
            </a:r>
          </a:p>
          <a:p>
            <a:pPr marL="664546" lvl="1" indent="-181240">
              <a:buFont typeface="Arial" panose="020B0604020202020204" pitchFamily="34" charset="0"/>
              <a:buChar char="•"/>
            </a:pPr>
            <a:r>
              <a:rPr lang="en-AU" dirty="0"/>
              <a:t>Take action – management of health risks to prevent condition progressing to a serious condition.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988176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endParaRPr lang="en-AU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When on an income protection claim TAL has many additional health support services that ensure employees are supported with a personalised approach for their recovery and return to work journey.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402436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US" dirty="0"/>
              <a:t>Suggested talking points: Because we &lt;</a:t>
            </a:r>
            <a:r>
              <a:rPr lang="en-US" i="1" dirty="0"/>
              <a:t>insert fund name</a:t>
            </a:r>
            <a:r>
              <a:rPr lang="en-US" dirty="0"/>
              <a:t>&gt; partner with TAL, our members get access to these health engagement and support tools</a:t>
            </a:r>
          </a:p>
          <a:p>
            <a:endParaRPr lang="en-AU" dirty="0"/>
          </a:p>
          <a:p>
            <a:pPr>
              <a:lnSpc>
                <a:spcPts val="1100"/>
              </a:lnSpc>
              <a:spcAft>
                <a:spcPts val="300"/>
              </a:spcAft>
            </a:pPr>
            <a:r>
              <a:rPr lang="en-AU" sz="1200" dirty="0">
                <a:solidFill>
                  <a:srgbClr val="303E46"/>
                </a:solidFill>
                <a:effectLst/>
                <a:latin typeface="Pluto Sans Light" panose="02000000000000000000" pitchFamily="50" charset="0"/>
                <a:ea typeface="MS Mincho" panose="02020609040205080304" pitchFamily="49" charset="-128"/>
                <a:cs typeface="Arial" panose="020B0604020202020204" pitchFamily="34" charset="0"/>
              </a:rPr>
              <a:t>By Partnering with TAL, your members get access to these health engagement and support tools.</a:t>
            </a:r>
          </a:p>
          <a:p>
            <a:pPr>
              <a:lnSpc>
                <a:spcPts val="1100"/>
              </a:lnSpc>
              <a:spcAft>
                <a:spcPts val="300"/>
              </a:spcAft>
            </a:pPr>
            <a:r>
              <a:rPr lang="en-AU" sz="1200" dirty="0">
                <a:solidFill>
                  <a:srgbClr val="303E46"/>
                </a:solidFill>
                <a:effectLst/>
                <a:latin typeface="Pluto Sans Light" panose="02000000000000000000" pitchFamily="50" charset="0"/>
                <a:ea typeface="MS Mincho" panose="02020609040205080304" pitchFamily="49" charset="-128"/>
                <a:cs typeface="Arial" panose="020B0604020202020204" pitchFamily="34" charset="0"/>
              </a:rPr>
              <a:t>Health Engagement = Preventative tools</a:t>
            </a:r>
          </a:p>
          <a:p>
            <a:pPr>
              <a:lnSpc>
                <a:spcPts val="1100"/>
              </a:lnSpc>
              <a:spcAft>
                <a:spcPts val="300"/>
              </a:spcAft>
            </a:pPr>
            <a:r>
              <a:rPr lang="en-AU" sz="1200" dirty="0">
                <a:solidFill>
                  <a:srgbClr val="303E46"/>
                </a:solidFill>
                <a:effectLst/>
                <a:latin typeface="Pluto Sans Light" panose="02000000000000000000" pitchFamily="50" charset="0"/>
                <a:ea typeface="MS Mincho" panose="02020609040205080304" pitchFamily="49" charset="-128"/>
                <a:cs typeface="Arial" panose="020B0604020202020204" pitchFamily="34" charset="0"/>
              </a:rPr>
              <a:t>Health Support = Remedial tools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77862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b="1" dirty="0"/>
              <a:t>Key points of slide:</a:t>
            </a:r>
            <a:br>
              <a:rPr lang="en-AU" b="1" dirty="0"/>
            </a:br>
            <a:endParaRPr lang="en-AU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Demonstrate TAL’s longevity in the industry and commitment to the insurance market within Australia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Highlight TAL’s scale by protecting 4.9mil Australians and their families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TAL supports various community groups and is an employer of choic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Figures are for period Jan-Dec 2021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4671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sz="1300" dirty="0"/>
              <a:t>Explain the different types of insurance that may be available via TAL through their Super Fund and provide employers confidence in having general discussions relating to employee benefit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sz="1300" dirty="0"/>
              <a:t>Demonstrate the benefits of having insurance in place and the protection it can provide employees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04100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Introduce TAL’s claims philosophy and how TAL will support delivering fair outcomes for every claim.</a:t>
            </a:r>
            <a:br>
              <a:rPr lang="en-AU" dirty="0"/>
            </a:br>
            <a:endParaRPr lang="en-AU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Provide confidence that as an insurer we strive to provide positive customer outcomes, not only paying a claim but supporting people to achieve along their journey in what can often be challenging circumstances.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84279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Demonstrating the large number of people supported and amount of benefits paid last financial year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Further broken down by product and claim condition. </a:t>
            </a:r>
          </a:p>
          <a:p>
            <a:endParaRPr lang="en-AU" dirty="0"/>
          </a:p>
          <a:p>
            <a:r>
              <a:rPr lang="en-AU" dirty="0"/>
              <a:t> 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820996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As a leading life insurer, TAL partners with us to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provide your employees with an evidence-based and holistic health and wellbeing proposition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/>
              <a:ea typeface="Calibri" panose="020F0502020204030204" pitchFamily="34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It offers expert and targeted programs and services  to help them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balance their physical, mental and financial wellbeing, while also providing you with the tools to help </a:t>
            </a:r>
            <a:r>
              <a: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member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get more from lif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.</a:t>
            </a:r>
            <a:endParaRPr kumimoji="0" lang="en-AU" sz="1100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/>
              <a:ea typeface="Calibri" panose="020F0502020204030204" pitchFamily="34" charset="0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/>
              <a:ea typeface="Calibri" panose="020F0502020204030204" pitchFamily="34" charset="0"/>
              <a:cs typeface="Times New Roman"/>
            </a:endParaRP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032727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612">
              <a:defRPr/>
            </a:pPr>
            <a:r>
              <a:rPr lang="en-AU" sz="1300" b="1" dirty="0"/>
              <a:t>Key points of slide:</a:t>
            </a:r>
            <a:br>
              <a:rPr lang="en-AU" sz="1300" b="1" dirty="0"/>
            </a:br>
            <a:endParaRPr lang="en-AU" sz="1300" b="1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AU" dirty="0"/>
              <a:t>Introduce TAL’s holistic view of health and outline how TAL play’s an important role in supporting employees at all stages of health not just the financial benefit at claim time</a:t>
            </a: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FD2EDF-23EA-40DA-8B4B-0891591D26C3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6644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CF1C9E-BC6A-4034-8507-8E4D49A63C3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35978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Screening tools and content</a:t>
            </a:r>
          </a:p>
          <a:p>
            <a:r>
              <a:rPr lang="en-AU" dirty="0"/>
              <a:t>Targeted recommendations </a:t>
            </a:r>
          </a:p>
          <a:p>
            <a:r>
              <a:rPr lang="en-AU" dirty="0"/>
              <a:t>Supporting access to serv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CF1C9E-BC6A-4034-8507-8E4D49A63C33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520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6D75CF-CB0A-4F06-BCAD-0B398F7450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615322-71DB-4632-85C3-91020E2AA0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B9F8BD-2B90-4613-822A-8BCA359C8C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2DC107-95D3-42D2-AAFA-F50455E4F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8A32D-96D6-47A9-BF4D-16E0577C0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72092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AE08F-3B4B-4C4B-BC3B-B5FCB868CA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0569D5-ADD7-439E-9AB1-A960FC79D3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09C18A-B74C-4382-915E-F71819E1E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32A653-6077-4115-A54B-C5F3D7245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548394-3D88-4A1C-86A9-EF2CEECAA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2847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0154F18-D104-4F75-8318-D3DFEDBB0C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261DEDD-A9EB-4F23-B9F3-D4BE2B26B4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DD8E5C-1B94-4BA9-BE13-ADCD3B8B03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9A649C-829D-4171-BF4D-A3C78DBB3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45599B-054D-4621-AD00-B372A00E3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1237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AF951-88BA-4332-B94A-FCA7B249F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8" y="404813"/>
            <a:ext cx="5162062" cy="1046440"/>
          </a:xfrm>
        </p:spPr>
        <p:txBody>
          <a:bodyPr anchor="ctr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  <a:endParaRPr lang="en-AU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5310800C-5E44-4BDD-8B97-58EE0548F7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1908" y="1668464"/>
            <a:ext cx="5162062" cy="543739"/>
          </a:xfrm>
        </p:spPr>
        <p:txBody>
          <a:bodyPr wrap="square">
            <a:spAutoFit/>
          </a:bodyPr>
          <a:lstStyle>
            <a:lvl1pPr>
              <a:spcAft>
                <a:spcPts val="400"/>
              </a:spcAft>
              <a:defRPr sz="1800" b="1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400"/>
              </a:spcAft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313CF09-DCB8-4F83-832A-D91BEBA5FB2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018350" y="5644800"/>
            <a:ext cx="2173650" cy="1213200"/>
            <a:chOff x="2595" y="1465"/>
            <a:chExt cx="2494" cy="1392"/>
          </a:xfrm>
        </p:grpSpPr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DFD0A1C5-A7A9-4394-9554-8210253BE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465"/>
              <a:ext cx="2494" cy="1392"/>
            </a:xfrm>
            <a:custGeom>
              <a:avLst/>
              <a:gdLst>
                <a:gd name="T0" fmla="*/ 1317 w 1317"/>
                <a:gd name="T1" fmla="*/ 734 h 734"/>
                <a:gd name="T2" fmla="*/ 1317 w 1317"/>
                <a:gd name="T3" fmla="*/ 0 h 734"/>
                <a:gd name="T4" fmla="*/ 540 w 1317"/>
                <a:gd name="T5" fmla="*/ 0 h 734"/>
                <a:gd name="T6" fmla="*/ 198 w 1317"/>
                <a:gd name="T7" fmla="*/ 244 h 734"/>
                <a:gd name="T8" fmla="*/ 0 w 1317"/>
                <a:gd name="T9" fmla="*/ 734 h 734"/>
                <a:gd name="T10" fmla="*/ 1317 w 1317"/>
                <a:gd name="T11" fmla="*/ 73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7" h="734">
                  <a:moveTo>
                    <a:pt x="1317" y="734"/>
                  </a:moveTo>
                  <a:cubicBezTo>
                    <a:pt x="1317" y="0"/>
                    <a:pt x="1317" y="0"/>
                    <a:pt x="1317" y="0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40" y="0"/>
                    <a:pt x="296" y="0"/>
                    <a:pt x="198" y="244"/>
                  </a:cubicBezTo>
                  <a:cubicBezTo>
                    <a:pt x="0" y="734"/>
                    <a:pt x="0" y="734"/>
                    <a:pt x="0" y="734"/>
                  </a:cubicBezTo>
                  <a:lnTo>
                    <a:pt x="1317" y="7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5D0E14C9-7704-4BB2-A553-0506044EEF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32"/>
              <a:ext cx="1153" cy="457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385585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2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/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D3C645-CA5D-4071-80F6-D7CE83152BE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80000"/>
          <a:lstStyle>
            <a:lvl1pPr algn="ctr">
              <a:defRPr sz="1600"/>
            </a:lvl1pPr>
          </a:lstStyle>
          <a:p>
            <a:r>
              <a:rPr lang="en-AU"/>
              <a:t>Click icon to insert image and send this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CAF951-88BA-4332-B94A-FCA7B249FE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8" y="404813"/>
            <a:ext cx="5162062" cy="1046440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goes here</a:t>
            </a:r>
            <a:endParaRPr lang="en-AU"/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5310800C-5E44-4BDD-8B97-58EE0548F7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1908" y="1668464"/>
            <a:ext cx="5162062" cy="543739"/>
          </a:xfrm>
        </p:spPr>
        <p:txBody>
          <a:bodyPr wrap="square">
            <a:spAutoFit/>
          </a:bodyPr>
          <a:lstStyle>
            <a:lvl1pPr>
              <a:spcAft>
                <a:spcPts val="400"/>
              </a:spcAft>
              <a:defRPr sz="1800" b="1">
                <a:solidFill>
                  <a:schemeClr val="bg1"/>
                </a:solidFill>
                <a:latin typeface="+mn-lt"/>
              </a:defRPr>
            </a:lvl1pPr>
            <a:lvl2pPr>
              <a:spcAft>
                <a:spcPts val="400"/>
              </a:spcAft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82C8EC-8551-4C23-A045-6A78C5988F0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21445" y="6148853"/>
            <a:ext cx="1270555" cy="709147"/>
            <a:chOff x="2595" y="1465"/>
            <a:chExt cx="2494" cy="1392"/>
          </a:xfrm>
        </p:grpSpPr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27DE8649-D240-4FF3-B504-15B2BB327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465"/>
              <a:ext cx="2494" cy="1392"/>
            </a:xfrm>
            <a:custGeom>
              <a:avLst/>
              <a:gdLst>
                <a:gd name="T0" fmla="*/ 1317 w 1317"/>
                <a:gd name="T1" fmla="*/ 734 h 734"/>
                <a:gd name="T2" fmla="*/ 1317 w 1317"/>
                <a:gd name="T3" fmla="*/ 0 h 734"/>
                <a:gd name="T4" fmla="*/ 540 w 1317"/>
                <a:gd name="T5" fmla="*/ 0 h 734"/>
                <a:gd name="T6" fmla="*/ 198 w 1317"/>
                <a:gd name="T7" fmla="*/ 244 h 734"/>
                <a:gd name="T8" fmla="*/ 0 w 1317"/>
                <a:gd name="T9" fmla="*/ 734 h 734"/>
                <a:gd name="T10" fmla="*/ 1317 w 1317"/>
                <a:gd name="T11" fmla="*/ 73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7" h="734">
                  <a:moveTo>
                    <a:pt x="1317" y="734"/>
                  </a:moveTo>
                  <a:cubicBezTo>
                    <a:pt x="1317" y="0"/>
                    <a:pt x="1317" y="0"/>
                    <a:pt x="1317" y="0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40" y="0"/>
                    <a:pt x="296" y="0"/>
                    <a:pt x="198" y="244"/>
                  </a:cubicBezTo>
                  <a:cubicBezTo>
                    <a:pt x="0" y="734"/>
                    <a:pt x="0" y="734"/>
                    <a:pt x="0" y="734"/>
                  </a:cubicBezTo>
                  <a:lnTo>
                    <a:pt x="1317" y="7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504E5B6E-3EA2-4E31-93D0-AD07DF959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32"/>
              <a:ext cx="1153" cy="457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4B4D17C-4EBE-4C66-9398-244C3EDC57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17600" y="5644800"/>
            <a:ext cx="2174400" cy="12132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0572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/>
      <p:bldP spid="14" grpId="0">
        <p:tmplLst>
          <p:tmpl>
            <p:tnLst>
              <p:par>
                <p:cTn presetID="10" presetClass="entr" presetSubtype="0" fill="hold" nodeType="withEffect">
                  <p:stCondLst>
                    <p:cond delay="2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/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04985AFF-874D-4C5D-A4E6-CE09E37FE02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tIns="180000"/>
          <a:lstStyle>
            <a:lvl1pPr algn="ctr">
              <a:defRPr sz="1600"/>
            </a:lvl1pPr>
          </a:lstStyle>
          <a:p>
            <a:r>
              <a:rPr lang="en-AU"/>
              <a:t>Click icon to insert image and send this to ba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E640BF-19F7-470A-83EB-72B7E02153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7" y="2905780"/>
            <a:ext cx="4572000" cy="1046440"/>
          </a:xfrm>
        </p:spPr>
        <p:txBody>
          <a:bodyPr anchor="ctr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 title goes here</a:t>
            </a:r>
            <a:endParaRPr lang="en-AU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4A8998E-C2EF-451A-A4E4-CE6B920C880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921445" y="6148853"/>
            <a:ext cx="1270555" cy="709147"/>
            <a:chOff x="2595" y="1465"/>
            <a:chExt cx="2494" cy="1392"/>
          </a:xfrm>
        </p:grpSpPr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C56B9C68-B96B-47A0-80FC-04AE30E68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" y="1465"/>
              <a:ext cx="2494" cy="1392"/>
            </a:xfrm>
            <a:custGeom>
              <a:avLst/>
              <a:gdLst>
                <a:gd name="T0" fmla="*/ 1317 w 1317"/>
                <a:gd name="T1" fmla="*/ 734 h 734"/>
                <a:gd name="T2" fmla="*/ 1317 w 1317"/>
                <a:gd name="T3" fmla="*/ 0 h 734"/>
                <a:gd name="T4" fmla="*/ 540 w 1317"/>
                <a:gd name="T5" fmla="*/ 0 h 734"/>
                <a:gd name="T6" fmla="*/ 198 w 1317"/>
                <a:gd name="T7" fmla="*/ 244 h 734"/>
                <a:gd name="T8" fmla="*/ 0 w 1317"/>
                <a:gd name="T9" fmla="*/ 734 h 734"/>
                <a:gd name="T10" fmla="*/ 1317 w 1317"/>
                <a:gd name="T11" fmla="*/ 734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7" h="734">
                  <a:moveTo>
                    <a:pt x="1317" y="734"/>
                  </a:moveTo>
                  <a:cubicBezTo>
                    <a:pt x="1317" y="0"/>
                    <a:pt x="1317" y="0"/>
                    <a:pt x="1317" y="0"/>
                  </a:cubicBezTo>
                  <a:cubicBezTo>
                    <a:pt x="540" y="0"/>
                    <a:pt x="540" y="0"/>
                    <a:pt x="540" y="0"/>
                  </a:cubicBezTo>
                  <a:cubicBezTo>
                    <a:pt x="540" y="0"/>
                    <a:pt x="296" y="0"/>
                    <a:pt x="198" y="244"/>
                  </a:cubicBezTo>
                  <a:cubicBezTo>
                    <a:pt x="0" y="734"/>
                    <a:pt x="0" y="734"/>
                    <a:pt x="0" y="734"/>
                  </a:cubicBezTo>
                  <a:lnTo>
                    <a:pt x="1317" y="7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55E95D18-0C7F-4D3B-B126-30B36ECAD1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32"/>
              <a:ext cx="1153" cy="457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FCFEE60-B676-450C-AABF-FEC0D03D42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17600" y="5644800"/>
            <a:ext cx="2174400" cy="12132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947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/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3">
            <a:extLst>
              <a:ext uri="{FF2B5EF4-FFF2-40B4-BE49-F238E27FC236}">
                <a16:creationId xmlns:a16="http://schemas.microsoft.com/office/drawing/2014/main" id="{54267DCF-B4A2-4E4C-AEE8-10DCC49B7881}"/>
              </a:ext>
            </a:extLst>
          </p:cNvPr>
          <p:cNvSpPr>
            <a:spLocks/>
          </p:cNvSpPr>
          <p:nvPr userDrawn="1"/>
        </p:nvSpPr>
        <p:spPr bwMode="auto">
          <a:xfrm>
            <a:off x="8923172" y="1633981"/>
            <a:ext cx="3268834" cy="1345323"/>
          </a:xfrm>
          <a:custGeom>
            <a:avLst/>
            <a:gdLst>
              <a:gd name="T0" fmla="*/ 2912 w 2912"/>
              <a:gd name="T1" fmla="*/ 1473 h 1473"/>
              <a:gd name="T2" fmla="*/ 535 w 2912"/>
              <a:gd name="T3" fmla="*/ 1473 h 1473"/>
              <a:gd name="T4" fmla="*/ 240 w 2912"/>
              <a:gd name="T5" fmla="*/ 1281 h 1473"/>
              <a:gd name="T6" fmla="*/ 0 w 2912"/>
              <a:gd name="T7" fmla="*/ 737 h 1473"/>
              <a:gd name="T8" fmla="*/ 240 w 2912"/>
              <a:gd name="T9" fmla="*/ 192 h 1473"/>
              <a:gd name="T10" fmla="*/ 535 w 2912"/>
              <a:gd name="T11" fmla="*/ 0 h 1473"/>
              <a:gd name="T12" fmla="*/ 2912 w 2912"/>
              <a:gd name="T13" fmla="*/ 0 h 1473"/>
              <a:gd name="T14" fmla="*/ 2912 w 2912"/>
              <a:gd name="T15" fmla="*/ 1473 h 1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912" h="1473">
                <a:moveTo>
                  <a:pt x="2912" y="1473"/>
                </a:moveTo>
                <a:cubicBezTo>
                  <a:pt x="535" y="1473"/>
                  <a:pt x="535" y="1473"/>
                  <a:pt x="535" y="1473"/>
                </a:cubicBezTo>
                <a:cubicBezTo>
                  <a:pt x="535" y="1473"/>
                  <a:pt x="325" y="1473"/>
                  <a:pt x="240" y="1281"/>
                </a:cubicBezTo>
                <a:cubicBezTo>
                  <a:pt x="0" y="737"/>
                  <a:pt x="0" y="737"/>
                  <a:pt x="0" y="737"/>
                </a:cubicBezTo>
                <a:cubicBezTo>
                  <a:pt x="240" y="192"/>
                  <a:pt x="240" y="192"/>
                  <a:pt x="240" y="192"/>
                </a:cubicBezTo>
                <a:cubicBezTo>
                  <a:pt x="325" y="0"/>
                  <a:pt x="535" y="0"/>
                  <a:pt x="535" y="0"/>
                </a:cubicBezTo>
                <a:cubicBezTo>
                  <a:pt x="2912" y="0"/>
                  <a:pt x="2912" y="0"/>
                  <a:pt x="2912" y="0"/>
                </a:cubicBezTo>
                <a:lnTo>
                  <a:pt x="2912" y="1473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 sz="180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4CF34C-48C4-4CBB-9B2E-88A918B328B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34039" y="742950"/>
            <a:ext cx="7157961" cy="362585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910" r="-178"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 lIns="1044000" rIns="576000" anchor="ctr" anchorCtr="0"/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AU"/>
              <a:t>Insert quote text and move quotation marks accordingly.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73899D1F-6630-4FF7-A756-A572EEC6478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6090933" y="1718018"/>
            <a:ext cx="349091" cy="288000"/>
          </a:xfr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60" r="360"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D202B836-DD66-48C7-B7F4-A4D64BE7C4CB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11208525" y="3150310"/>
            <a:ext cx="349091" cy="288000"/>
          </a:xfr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360" r="360"/>
            </a:stretch>
          </a:blipFill>
          <a:ln>
            <a:solidFill>
              <a:schemeClr val="bg1">
                <a:alpha val="0"/>
              </a:schemeClr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98F9ADD6-9908-45F9-8A51-963ECC9CA89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  <a:alpha val="50000"/>
            </a:schemeClr>
          </a:solidFill>
        </p:spPr>
        <p:txBody>
          <a:bodyPr tIns="180000"/>
          <a:lstStyle>
            <a:lvl1pPr algn="ctr">
              <a:defRPr sz="1600"/>
            </a:lvl1pPr>
          </a:lstStyle>
          <a:p>
            <a:r>
              <a:rPr lang="en-AU"/>
              <a:t>Click icon to insert image and send this to back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5DD1B4C-AC90-42D9-812B-110CA8DB56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694400" y="6202800"/>
            <a:ext cx="1497600" cy="655200"/>
          </a:xfr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C6AEE0-9535-473F-BBA4-35A9A74748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1E7E947-68F6-4530-8D69-414E9929270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1908" y="6453188"/>
            <a:ext cx="443077" cy="0"/>
          </a:xfrm>
          <a:noFill/>
          <a:ln w="9525">
            <a:solidFill>
              <a:schemeClr val="bg1"/>
            </a:solidFill>
            <a:miter lim="800000"/>
          </a:ln>
        </p:spPr>
        <p:txBody>
          <a:bodyPr/>
          <a:lstStyle>
            <a:lvl1pPr algn="r"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7035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0.03218 L -2.29167E-6 2.22222E-6 " pathEditMode="relative" rAng="0" ptsTypes="AA">
                                      <p:cBhvr>
                                        <p:cTn id="11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97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4.07407E-6 L -3.75E-6 0.03797 " pathEditMode="relative" rAng="0" ptsTypes="AA">
                                      <p:cBhvr>
                                        <p:cTn id="16" dur="150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9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2.29167E-6 -0.03218 L -2.29167E-6 2.22222E-6 " pathEditMode="relative" rAng="0" ptsTypes="AA">
                      <p:cBhvr>
                        <p:cTn dur="1500" fill="hold"/>
                        <p:tgtEl>
                          <p:spTgt spid="1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597"/>
                    </p:animMotion>
                  </p:childTnLst>
                </p:cTn>
              </p:par>
            </p:tnLst>
          </p:tmpl>
        </p:tmplLst>
      </p:bldP>
      <p:bldP spid="1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 uiExpand="1" animBg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3.75E-6 -4.07407E-6 L -3.75E-6 0.03797 " pathEditMode="relative" rAng="0" ptsTypes="AA">
                      <p:cBhvr>
                        <p:cTn dur="1500" spd="-100000" fill="hold"/>
                        <p:tgtEl>
                          <p:spTgt spid="1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898"/>
                    </p:animMotion>
                  </p:childTnLst>
                </p:cTn>
              </p:par>
            </p:tnLst>
          </p:tmpl>
        </p:tmplLst>
      </p:bldP>
      <p:bldP spid="4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D636FBD-E4CA-40EB-9561-E2C282E3344B}"/>
              </a:ext>
            </a:extLst>
          </p:cNvPr>
          <p:cNvSpPr/>
          <p:nvPr userDrawn="1"/>
        </p:nvSpPr>
        <p:spPr>
          <a:xfrm>
            <a:off x="8180480" y="0"/>
            <a:ext cx="401152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4ECE23-841C-4A03-ADF5-CAA9CD5BE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9" y="404813"/>
            <a:ext cx="7005922" cy="9417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F7B3AF-705C-426E-8851-B032AA693A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2593AC2-0749-474E-A364-30D46D1275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1908" y="1808163"/>
            <a:ext cx="3323077" cy="4392612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6F4F5EEF-6D0F-4A42-983E-5C5AFD4BFD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94753" y="1808163"/>
            <a:ext cx="3323077" cy="4392612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Text Placeholder 107">
            <a:extLst>
              <a:ext uri="{FF2B5EF4-FFF2-40B4-BE49-F238E27FC236}">
                <a16:creationId xmlns:a16="http://schemas.microsoft.com/office/drawing/2014/main" id="{08F51C22-C43C-4462-8856-CF82C00EC71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8180482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6D90C04-522A-4F65-B31B-321DB8A748D4}"/>
              </a:ext>
            </a:extLst>
          </p:cNvPr>
          <p:cNvGrpSpPr/>
          <p:nvPr userDrawn="1"/>
        </p:nvGrpSpPr>
        <p:grpSpPr>
          <a:xfrm>
            <a:off x="10694193" y="6202222"/>
            <a:ext cx="1497807" cy="655778"/>
            <a:chOff x="8408193" y="6202221"/>
            <a:chExt cx="1497807" cy="655778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50DA108-DF8B-4942-AE2D-21C8B205D8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0C509EF9-9C8B-411A-9DA6-E3D020BC16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78195" y="645549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2688130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tle and Content (C) w/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811B4E67-75A8-425E-98A0-A7035417E7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80482" y="0"/>
            <a:ext cx="4011518" cy="6858000"/>
          </a:xfrm>
          <a:solidFill>
            <a:schemeClr val="bg1">
              <a:lumMod val="95000"/>
            </a:schemeClr>
          </a:solidFill>
        </p:spPr>
        <p:txBody>
          <a:bodyPr lIns="0" tIns="180000" rIns="0"/>
          <a:lstStyle>
            <a:lvl1pPr algn="ctr">
              <a:defRPr sz="1600"/>
            </a:lvl1pPr>
          </a:lstStyle>
          <a:p>
            <a:r>
              <a:rPr lang="en-AU"/>
              <a:t>Click icon to insert image</a:t>
            </a:r>
            <a:br>
              <a:rPr lang="en-AU"/>
            </a:br>
            <a:r>
              <a:rPr lang="en-AU"/>
              <a:t>and send this to back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6F28C3B-1B01-4342-B061-37ED41F4ED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1908" y="6453188"/>
            <a:ext cx="443077" cy="0"/>
          </a:xfrm>
          <a:noFill/>
          <a:ln w="9525">
            <a:solidFill>
              <a:schemeClr val="tx1"/>
            </a:solidFill>
            <a:miter lim="800000"/>
          </a:ln>
        </p:spPr>
        <p:txBody>
          <a:bodyPr/>
          <a:lstStyle>
            <a:lvl1pPr algn="r"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4ECE23-841C-4A03-ADF5-CAA9CD5BE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9" y="404813"/>
            <a:ext cx="7005922" cy="9417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F7B3AF-705C-426E-8851-B032AA693A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5" name="Text Placeholder 107">
            <a:extLst>
              <a:ext uri="{FF2B5EF4-FFF2-40B4-BE49-F238E27FC236}">
                <a16:creationId xmlns:a16="http://schemas.microsoft.com/office/drawing/2014/main" id="{08F51C22-C43C-4462-8856-CF82C00EC71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8180482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E77857F-301B-40FD-BAEC-96A78504B5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11908" y="1808163"/>
            <a:ext cx="7005924" cy="4394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A690068-7F35-4FB4-8D64-0F264476B7F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694400" y="6202800"/>
            <a:ext cx="1497600" cy="6552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45137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8579450-1B2C-407C-9F0C-E624A63D230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511908" y="1808163"/>
            <a:ext cx="11168185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9977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3E415-4CBC-4B05-AB15-4D7EA860B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9" y="2487205"/>
            <a:ext cx="3293068" cy="1883593"/>
          </a:xfrm>
        </p:spPr>
        <p:txBody>
          <a:bodyPr anchor="ctr">
            <a:spAutoFit/>
          </a:bodyPr>
          <a:lstStyle>
            <a:lvl1pPr>
              <a:defRPr/>
            </a:lvl1pPr>
          </a:lstStyle>
          <a:p>
            <a:r>
              <a:rPr lang="en-US"/>
              <a:t>Slide title</a:t>
            </a:r>
            <a:br>
              <a:rPr lang="en-US"/>
            </a:br>
            <a:r>
              <a:rPr lang="en-US"/>
              <a:t>goes here</a:t>
            </a:r>
            <a:br>
              <a:rPr lang="en-US"/>
            </a:br>
            <a:r>
              <a:rPr lang="en-US"/>
              <a:t>(delete if</a:t>
            </a:r>
            <a:br>
              <a:rPr lang="en-US"/>
            </a:br>
            <a:r>
              <a:rPr lang="en-US"/>
              <a:t>not needed)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76137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EEC60-F0C6-4B13-9E7A-A091E3B1D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BD7F4-3F47-4466-AD04-64AB53A84F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36DC22-B587-4E20-A615-83AEAA874C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A5C38D-585E-4DDF-B83A-C4807C151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266EA-205A-42C9-BFD2-50937A471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47546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304549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2F0054DB-686A-42CE-9ACC-06E2D3A75AA1}"/>
              </a:ext>
            </a:extLst>
          </p:cNvPr>
          <p:cNvGrpSpPr/>
          <p:nvPr userDrawn="1"/>
        </p:nvGrpSpPr>
        <p:grpSpPr>
          <a:xfrm>
            <a:off x="6633031" y="101600"/>
            <a:ext cx="5416062" cy="4400550"/>
            <a:chOff x="2984500" y="1931398"/>
            <a:chExt cx="3937000" cy="3937000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C0460112-E5D1-4444-86D3-321E3B04FFD6}"/>
                </a:ext>
              </a:extLst>
            </p:cNvPr>
            <p:cNvSpPr/>
            <p:nvPr userDrawn="1"/>
          </p:nvSpPr>
          <p:spPr>
            <a:xfrm>
              <a:off x="3124200" y="2071098"/>
              <a:ext cx="3657600" cy="3657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63204C8-1CFF-406F-A5F1-1D71CFCAA961}"/>
                </a:ext>
              </a:extLst>
            </p:cNvPr>
            <p:cNvSpPr/>
            <p:nvPr userDrawn="1"/>
          </p:nvSpPr>
          <p:spPr>
            <a:xfrm>
              <a:off x="2984500" y="1931398"/>
              <a:ext cx="3937000" cy="3937000"/>
            </a:xfrm>
            <a:prstGeom prst="ellipse">
              <a:avLst/>
            </a:prstGeom>
            <a:no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sz="1800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BABCF2CD-643D-47C5-A454-9847DC6FDF7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108A271-F8DB-4BA7-A7D7-98B34F08153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936000" y="1806269"/>
            <a:ext cx="4320000" cy="4318306"/>
          </a:xfrm>
          <a:prstGeom prst="ellipse">
            <a:avLst/>
          </a:prstGeom>
          <a:noFill/>
          <a:ln w="76200">
            <a:solidFill>
              <a:schemeClr val="accent1"/>
            </a:solidFill>
          </a:ln>
        </p:spPr>
        <p:txBody>
          <a:bodyPr tIns="720000" anchor="t"/>
          <a:lstStyle>
            <a:lvl1pPr algn="ctr">
              <a:spcAft>
                <a:spcPts val="2000"/>
              </a:spcAft>
              <a:defRPr sz="2400">
                <a:noFill/>
              </a:defRPr>
            </a:lvl1pPr>
            <a:lvl2pPr algn="ctr">
              <a:defRPr>
                <a:noFill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</a:t>
            </a:r>
            <a:br>
              <a:rPr lang="en-US"/>
            </a:br>
            <a:r>
              <a:rPr lang="en-US"/>
              <a:t>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D1DF03D0-93A6-4DC2-8335-ED31BA3E0207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4078200" y="1947622"/>
            <a:ext cx="4035600" cy="4035600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solidFill>
              <a:schemeClr val="accent1">
                <a:alpha val="0"/>
              </a:schemeClr>
            </a:solidFill>
          </a:ln>
        </p:spPr>
        <p:txBody>
          <a:bodyPr tIns="0" anchor="t"/>
          <a:lstStyle>
            <a:lvl1pPr algn="ctr">
              <a:spcAft>
                <a:spcPts val="2000"/>
              </a:spcAft>
              <a:defRPr sz="2400">
                <a:solidFill>
                  <a:schemeClr val="tx1"/>
                </a:solidFill>
              </a:defRPr>
            </a:lvl1pPr>
            <a:lvl2pPr algn="ctr"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text (2 lines)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D115A0E-628F-4812-ADC3-972545755E2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988308" y="3339968"/>
            <a:ext cx="2215385" cy="0"/>
          </a:xfrm>
          <a:noFill/>
          <a:ln w="76200">
            <a:solidFill>
              <a:schemeClr val="accent1"/>
            </a:solidFill>
            <a:miter lim="800000"/>
          </a:ln>
        </p:spPr>
        <p:txBody>
          <a:bodyPr/>
          <a:lstStyle>
            <a:lvl1pPr algn="r"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298DFDC-BBB3-401C-A256-8FE253BAB7C8}"/>
              </a:ext>
            </a:extLst>
          </p:cNvPr>
          <p:cNvCxnSpPr/>
          <p:nvPr userDrawn="1"/>
        </p:nvCxnSpPr>
        <p:spPr>
          <a:xfrm>
            <a:off x="511908" y="6453188"/>
            <a:ext cx="443077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436AE5D-5E0B-4DCA-A3BE-0FA4AFEF7B28}"/>
              </a:ext>
            </a:extLst>
          </p:cNvPr>
          <p:cNvGrpSpPr/>
          <p:nvPr userDrawn="1"/>
        </p:nvGrpSpPr>
        <p:grpSpPr>
          <a:xfrm>
            <a:off x="10694193" y="6202222"/>
            <a:ext cx="1497807" cy="655778"/>
            <a:chOff x="8408193" y="6202221"/>
            <a:chExt cx="1497807" cy="65577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64587A01-2D27-4650-A8E9-FB342A3748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E8724123-B84A-4109-806E-3C742375B2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78195" y="645549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8635633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6EA86FD-4E3F-4B74-A446-3AFE5545A29D}"/>
              </a:ext>
            </a:extLst>
          </p:cNvPr>
          <p:cNvSpPr/>
          <p:nvPr userDrawn="1"/>
        </p:nvSpPr>
        <p:spPr>
          <a:xfrm>
            <a:off x="0" y="0"/>
            <a:ext cx="12192000" cy="1166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EC8A60-BFE5-4F0C-BCE7-6436E6387D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FDA1EE-8CD5-47A2-8BE4-F84C7C1E54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EAD7A9-57EC-4BE3-8E5F-AF9B0FF5C597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1D84C0F-A5B5-42B3-9AFC-6C90BA326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E944156-D139-4E0F-ACF2-D117B875F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DF04D615-3A2A-471C-9C9D-91BB3664B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F6B421-41D7-48FE-8DDD-5AD103C0D9A9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E0CDD8C2-F6CE-4853-BDC6-05F3AA552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43E870B-A958-40D7-B0F4-24574B5898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BD3E6D3-EAC3-4CA6-B479-3D4D94E4E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690492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7333" decel="8266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1" accel="17333" decel="82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xit" presetSubtype="4" accel="17333" decel="82667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5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6" grpId="0" animBg="1"/>
      <p:bldP spid="16" grpId="1" animBg="1"/>
      <p:bldP spid="17" grpId="0" animBg="1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 Layout 1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2168a0a581e_0_46"/>
          <p:cNvSpPr txBox="1">
            <a:spLocks noGrp="1"/>
          </p:cNvSpPr>
          <p:nvPr>
            <p:ph type="title"/>
          </p:nvPr>
        </p:nvSpPr>
        <p:spPr>
          <a:xfrm>
            <a:off x="574505" y="364086"/>
            <a:ext cx="109935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g2168a0a581e_0_46"/>
          <p:cNvSpPr txBox="1">
            <a:spLocks noGrp="1"/>
          </p:cNvSpPr>
          <p:nvPr>
            <p:ph type="sldNum" idx="12"/>
          </p:nvPr>
        </p:nvSpPr>
        <p:spPr>
          <a:xfrm>
            <a:off x="550088" y="6457027"/>
            <a:ext cx="3585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3" name="Google Shape;23;g2168a0a581e_0_46"/>
          <p:cNvSpPr/>
          <p:nvPr/>
        </p:nvSpPr>
        <p:spPr>
          <a:xfrm>
            <a:off x="4776625" y="6315900"/>
            <a:ext cx="26142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g2168a0a581e_0_46"/>
          <p:cNvSpPr/>
          <p:nvPr/>
        </p:nvSpPr>
        <p:spPr>
          <a:xfrm>
            <a:off x="12400" y="5861400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g2168a0a581e_0_46"/>
          <p:cNvSpPr/>
          <p:nvPr/>
        </p:nvSpPr>
        <p:spPr>
          <a:xfrm>
            <a:off x="0" y="818575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92295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8579450-1B2C-407C-9F0C-E624A63D230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511908" y="1808163"/>
            <a:ext cx="11168185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37188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20733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6EA86FD-4E3F-4B74-A446-3AFE5545A29D}"/>
              </a:ext>
            </a:extLst>
          </p:cNvPr>
          <p:cNvSpPr/>
          <p:nvPr userDrawn="1"/>
        </p:nvSpPr>
        <p:spPr>
          <a:xfrm>
            <a:off x="0" y="0"/>
            <a:ext cx="12192000" cy="1166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EC8A60-BFE5-4F0C-BCE7-6436E6387D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FDA1EE-8CD5-47A2-8BE4-F84C7C1E54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EAD7A9-57EC-4BE3-8E5F-AF9B0FF5C597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1D84C0F-A5B5-42B3-9AFC-6C90BA326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E944156-D139-4E0F-ACF2-D117B875F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DF04D615-3A2A-471C-9C9D-91BB3664B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F6B421-41D7-48FE-8DDD-5AD103C0D9A9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E0CDD8C2-F6CE-4853-BDC6-05F3AA552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43E870B-A958-40D7-B0F4-24574B5898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BD3E6D3-EAC3-4CA6-B479-3D4D94E4E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4027134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7333" decel="8266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1" accel="17333" decel="82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xit" presetSubtype="4" accel="17333" decel="82667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5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6" grpId="0" animBg="1"/>
      <p:bldP spid="16" grpId="1" animBg="1"/>
      <p:bldP spid="17" grpId="0" animBg="1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 Layout 1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2168a0a581e_0_46"/>
          <p:cNvSpPr txBox="1">
            <a:spLocks noGrp="1"/>
          </p:cNvSpPr>
          <p:nvPr>
            <p:ph type="title"/>
          </p:nvPr>
        </p:nvSpPr>
        <p:spPr>
          <a:xfrm>
            <a:off x="574505" y="364086"/>
            <a:ext cx="109935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g2168a0a581e_0_46"/>
          <p:cNvSpPr txBox="1">
            <a:spLocks noGrp="1"/>
          </p:cNvSpPr>
          <p:nvPr>
            <p:ph type="sldNum" idx="12"/>
          </p:nvPr>
        </p:nvSpPr>
        <p:spPr>
          <a:xfrm>
            <a:off x="550088" y="6457027"/>
            <a:ext cx="3585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3" name="Google Shape;23;g2168a0a581e_0_46"/>
          <p:cNvSpPr/>
          <p:nvPr/>
        </p:nvSpPr>
        <p:spPr>
          <a:xfrm>
            <a:off x="4776625" y="6315900"/>
            <a:ext cx="26142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g2168a0a581e_0_46"/>
          <p:cNvSpPr/>
          <p:nvPr/>
        </p:nvSpPr>
        <p:spPr>
          <a:xfrm>
            <a:off x="12400" y="5861400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g2168a0a581e_0_46"/>
          <p:cNvSpPr/>
          <p:nvPr/>
        </p:nvSpPr>
        <p:spPr>
          <a:xfrm>
            <a:off x="0" y="818575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03853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tle and Content (C) w/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811B4E67-75A8-425E-98A0-A7035417E7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180482" y="0"/>
            <a:ext cx="4011518" cy="6858000"/>
          </a:xfrm>
          <a:solidFill>
            <a:schemeClr val="bg1">
              <a:lumMod val="95000"/>
            </a:schemeClr>
          </a:solidFill>
        </p:spPr>
        <p:txBody>
          <a:bodyPr lIns="0" tIns="180000" rIns="0"/>
          <a:lstStyle>
            <a:lvl1pPr algn="ctr">
              <a:defRPr sz="1600"/>
            </a:lvl1pPr>
          </a:lstStyle>
          <a:p>
            <a:r>
              <a:rPr lang="en-AU"/>
              <a:t>Click icon to insert image</a:t>
            </a:r>
            <a:br>
              <a:rPr lang="en-AU"/>
            </a:br>
            <a:r>
              <a:rPr lang="en-AU"/>
              <a:t>and send this to back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6F28C3B-1B01-4342-B061-37ED41F4EDC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1908" y="6453188"/>
            <a:ext cx="443077" cy="0"/>
          </a:xfrm>
          <a:noFill/>
          <a:ln w="9525">
            <a:solidFill>
              <a:schemeClr val="tx1"/>
            </a:solidFill>
            <a:miter lim="800000"/>
          </a:ln>
        </p:spPr>
        <p:txBody>
          <a:bodyPr/>
          <a:lstStyle>
            <a:lvl1pPr algn="r"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4ECE23-841C-4A03-ADF5-CAA9CD5BE9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909" y="404813"/>
            <a:ext cx="7005922" cy="9417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F7B3AF-705C-426E-8851-B032AA693AC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5" name="Text Placeholder 107">
            <a:extLst>
              <a:ext uri="{FF2B5EF4-FFF2-40B4-BE49-F238E27FC236}">
                <a16:creationId xmlns:a16="http://schemas.microsoft.com/office/drawing/2014/main" id="{08F51C22-C43C-4462-8856-CF82C00EC71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8180482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E77857F-301B-40FD-BAEC-96A78504B5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11908" y="1808163"/>
            <a:ext cx="7005924" cy="4394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A690068-7F35-4FB4-8D64-0F264476B7F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694400" y="6202800"/>
            <a:ext cx="1497600" cy="6552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6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079216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3AA375B-0FCD-48C1-9607-4B756F1346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Text Placeholder 107">
            <a:extLst>
              <a:ext uri="{FF2B5EF4-FFF2-40B4-BE49-F238E27FC236}">
                <a16:creationId xmlns:a16="http://schemas.microsoft.com/office/drawing/2014/main" id="{A0072F5F-A554-43CA-96E7-340C7E44B56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0" y="0"/>
            <a:ext cx="12192000" cy="72000"/>
          </a:xfrm>
          <a:solidFill>
            <a:schemeClr val="accent1"/>
          </a:solidFill>
          <a:ln w="0">
            <a:noFill/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C4D83D7-8519-4B4F-809D-155D6D96EE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8579450-1B2C-407C-9F0C-E624A63D230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511908" y="1808163"/>
            <a:ext cx="11168185" cy="39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1972868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30270D-C655-43D8-9DF9-BCCD941CF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780F2-9400-4F04-859A-C6B9ADD9E7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36D811-5D7E-4338-B6B5-5E00252DB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E78AD9-2701-40B2-8B62-19EFB2560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01BDE7-0DEA-4750-85A9-AFE242989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301811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6EA86FD-4E3F-4B74-A446-3AFE5545A29D}"/>
              </a:ext>
            </a:extLst>
          </p:cNvPr>
          <p:cNvSpPr/>
          <p:nvPr userDrawn="1"/>
        </p:nvSpPr>
        <p:spPr>
          <a:xfrm>
            <a:off x="0" y="0"/>
            <a:ext cx="12192000" cy="1166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EC8A60-BFE5-4F0C-BCE7-6436E6387D9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9FDA1EE-8CD5-47A2-8BE4-F84C7C1E54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AU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FEAD7A9-57EC-4BE3-8E5F-AF9B0FF5C597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  <a:solidFill>
            <a:schemeClr val="bg1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1D84C0F-A5B5-42B3-9AFC-6C90BA3267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E944156-D139-4E0F-ACF2-D117B875F2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DF04D615-3A2A-471C-9C9D-91BB3664BA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0F6B421-41D7-48FE-8DDD-5AD103C0D9A9}"/>
              </a:ext>
            </a:extLst>
          </p:cNvPr>
          <p:cNvGrpSpPr/>
          <p:nvPr userDrawn="1"/>
        </p:nvGrpSpPr>
        <p:grpSpPr>
          <a:xfrm>
            <a:off x="4793204" y="2924629"/>
            <a:ext cx="2583820" cy="1008742"/>
            <a:chOff x="3481388" y="2408238"/>
            <a:chExt cx="5229226" cy="2041525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E0CDD8C2-F6CE-4853-BDC6-05F3AA552F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5213" y="2408238"/>
              <a:ext cx="2163763" cy="2041525"/>
            </a:xfrm>
            <a:custGeom>
              <a:avLst/>
              <a:gdLst>
                <a:gd name="T0" fmla="*/ 716 w 720"/>
                <a:gd name="T1" fmla="*/ 593 h 678"/>
                <a:gd name="T2" fmla="*/ 714 w 720"/>
                <a:gd name="T3" fmla="*/ 589 h 678"/>
                <a:gd name="T4" fmla="*/ 465 w 720"/>
                <a:gd name="T5" fmla="*/ 0 h 678"/>
                <a:gd name="T6" fmla="*/ 286 w 720"/>
                <a:gd name="T7" fmla="*/ 0 h 678"/>
                <a:gd name="T8" fmla="*/ 0 w 720"/>
                <a:gd name="T9" fmla="*/ 678 h 678"/>
                <a:gd name="T10" fmla="*/ 196 w 720"/>
                <a:gd name="T11" fmla="*/ 678 h 678"/>
                <a:gd name="T12" fmla="*/ 374 w 720"/>
                <a:gd name="T13" fmla="*/ 221 h 678"/>
                <a:gd name="T14" fmla="*/ 449 w 720"/>
                <a:gd name="T15" fmla="*/ 412 h 678"/>
                <a:gd name="T16" fmla="*/ 345 w 720"/>
                <a:gd name="T17" fmla="*/ 412 h 678"/>
                <a:gd name="T18" fmla="*/ 289 w 720"/>
                <a:gd name="T19" fmla="*/ 557 h 678"/>
                <a:gd name="T20" fmla="*/ 503 w 720"/>
                <a:gd name="T21" fmla="*/ 557 h 678"/>
                <a:gd name="T22" fmla="*/ 552 w 720"/>
                <a:gd name="T23" fmla="*/ 678 h 678"/>
                <a:gd name="T24" fmla="*/ 657 w 720"/>
                <a:gd name="T25" fmla="*/ 678 h 678"/>
                <a:gd name="T26" fmla="*/ 720 w 720"/>
                <a:gd name="T27" fmla="*/ 615 h 678"/>
                <a:gd name="T28" fmla="*/ 716 w 720"/>
                <a:gd name="T29" fmla="*/ 59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0" h="678">
                  <a:moveTo>
                    <a:pt x="716" y="593"/>
                  </a:moveTo>
                  <a:cubicBezTo>
                    <a:pt x="714" y="589"/>
                    <a:pt x="714" y="589"/>
                    <a:pt x="714" y="589"/>
                  </a:cubicBezTo>
                  <a:cubicBezTo>
                    <a:pt x="465" y="0"/>
                    <a:pt x="465" y="0"/>
                    <a:pt x="465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196" y="678"/>
                    <a:pt x="196" y="678"/>
                    <a:pt x="196" y="678"/>
                  </a:cubicBezTo>
                  <a:cubicBezTo>
                    <a:pt x="374" y="221"/>
                    <a:pt x="374" y="221"/>
                    <a:pt x="374" y="221"/>
                  </a:cubicBezTo>
                  <a:cubicBezTo>
                    <a:pt x="449" y="412"/>
                    <a:pt x="449" y="412"/>
                    <a:pt x="449" y="412"/>
                  </a:cubicBezTo>
                  <a:cubicBezTo>
                    <a:pt x="345" y="412"/>
                    <a:pt x="345" y="412"/>
                    <a:pt x="345" y="412"/>
                  </a:cubicBezTo>
                  <a:cubicBezTo>
                    <a:pt x="289" y="557"/>
                    <a:pt x="289" y="557"/>
                    <a:pt x="289" y="557"/>
                  </a:cubicBezTo>
                  <a:cubicBezTo>
                    <a:pt x="503" y="557"/>
                    <a:pt x="503" y="557"/>
                    <a:pt x="503" y="557"/>
                  </a:cubicBezTo>
                  <a:cubicBezTo>
                    <a:pt x="552" y="678"/>
                    <a:pt x="552" y="678"/>
                    <a:pt x="552" y="678"/>
                  </a:cubicBezTo>
                  <a:cubicBezTo>
                    <a:pt x="657" y="678"/>
                    <a:pt x="657" y="678"/>
                    <a:pt x="657" y="678"/>
                  </a:cubicBezTo>
                  <a:cubicBezTo>
                    <a:pt x="692" y="678"/>
                    <a:pt x="720" y="650"/>
                    <a:pt x="720" y="615"/>
                  </a:cubicBezTo>
                  <a:cubicBezTo>
                    <a:pt x="720" y="607"/>
                    <a:pt x="718" y="600"/>
                    <a:pt x="716" y="593"/>
                  </a:cubicBezTo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543E870B-A958-40D7-B0F4-24574B5898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481388" y="2408238"/>
              <a:ext cx="1965325" cy="2038350"/>
            </a:xfrm>
            <a:custGeom>
              <a:avLst/>
              <a:gdLst>
                <a:gd name="T0" fmla="*/ 0 w 654"/>
                <a:gd name="T1" fmla="*/ 0 h 677"/>
                <a:gd name="T2" fmla="*/ 0 w 654"/>
                <a:gd name="T3" fmla="*/ 164 h 677"/>
                <a:gd name="T4" fmla="*/ 203 w 654"/>
                <a:gd name="T5" fmla="*/ 164 h 677"/>
                <a:gd name="T6" fmla="*/ 203 w 654"/>
                <a:gd name="T7" fmla="*/ 677 h 677"/>
                <a:gd name="T8" fmla="*/ 391 w 654"/>
                <a:gd name="T9" fmla="*/ 677 h 677"/>
                <a:gd name="T10" fmla="*/ 391 w 654"/>
                <a:gd name="T11" fmla="*/ 164 h 677"/>
                <a:gd name="T12" fmla="*/ 543 w 654"/>
                <a:gd name="T13" fmla="*/ 164 h 677"/>
                <a:gd name="T14" fmla="*/ 600 w 654"/>
                <a:gd name="T15" fmla="*/ 126 h 677"/>
                <a:gd name="T16" fmla="*/ 600 w 654"/>
                <a:gd name="T17" fmla="*/ 126 h 677"/>
                <a:gd name="T18" fmla="*/ 654 w 654"/>
                <a:gd name="T19" fmla="*/ 0 h 677"/>
                <a:gd name="T20" fmla="*/ 0 w 654"/>
                <a:gd name="T21" fmla="*/ 0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4" h="677">
                  <a:moveTo>
                    <a:pt x="0" y="0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203" y="164"/>
                    <a:pt x="203" y="164"/>
                    <a:pt x="203" y="164"/>
                  </a:cubicBezTo>
                  <a:cubicBezTo>
                    <a:pt x="203" y="677"/>
                    <a:pt x="203" y="677"/>
                    <a:pt x="203" y="677"/>
                  </a:cubicBezTo>
                  <a:cubicBezTo>
                    <a:pt x="391" y="677"/>
                    <a:pt x="391" y="677"/>
                    <a:pt x="391" y="677"/>
                  </a:cubicBezTo>
                  <a:cubicBezTo>
                    <a:pt x="391" y="164"/>
                    <a:pt x="391" y="164"/>
                    <a:pt x="391" y="164"/>
                  </a:cubicBezTo>
                  <a:cubicBezTo>
                    <a:pt x="543" y="164"/>
                    <a:pt x="543" y="164"/>
                    <a:pt x="543" y="164"/>
                  </a:cubicBezTo>
                  <a:cubicBezTo>
                    <a:pt x="568" y="164"/>
                    <a:pt x="591" y="149"/>
                    <a:pt x="600" y="126"/>
                  </a:cubicBezTo>
                  <a:cubicBezTo>
                    <a:pt x="600" y="126"/>
                    <a:pt x="600" y="126"/>
                    <a:pt x="600" y="126"/>
                  </a:cubicBezTo>
                  <a:cubicBezTo>
                    <a:pt x="654" y="0"/>
                    <a:pt x="654" y="0"/>
                    <a:pt x="65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BD3E6D3-EAC3-4CA6-B479-3D4D94E4E2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62801" y="2408238"/>
              <a:ext cx="1547813" cy="2041525"/>
            </a:xfrm>
            <a:custGeom>
              <a:avLst/>
              <a:gdLst>
                <a:gd name="T0" fmla="*/ 187 w 515"/>
                <a:gd name="T1" fmla="*/ 513 h 678"/>
                <a:gd name="T2" fmla="*/ 187 w 515"/>
                <a:gd name="T3" fmla="*/ 0 h 678"/>
                <a:gd name="T4" fmla="*/ 0 w 515"/>
                <a:gd name="T5" fmla="*/ 0 h 678"/>
                <a:gd name="T6" fmla="*/ 0 w 515"/>
                <a:gd name="T7" fmla="*/ 678 h 678"/>
                <a:gd name="T8" fmla="*/ 252 w 515"/>
                <a:gd name="T9" fmla="*/ 678 h 678"/>
                <a:gd name="T10" fmla="*/ 404 w 515"/>
                <a:gd name="T11" fmla="*/ 678 h 678"/>
                <a:gd name="T12" fmla="*/ 462 w 515"/>
                <a:gd name="T13" fmla="*/ 639 h 678"/>
                <a:gd name="T14" fmla="*/ 462 w 515"/>
                <a:gd name="T15" fmla="*/ 639 h 678"/>
                <a:gd name="T16" fmla="*/ 515 w 515"/>
                <a:gd name="T17" fmla="*/ 513 h 678"/>
                <a:gd name="T18" fmla="*/ 187 w 515"/>
                <a:gd name="T19" fmla="*/ 513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5" h="678">
                  <a:moveTo>
                    <a:pt x="187" y="513"/>
                  </a:moveTo>
                  <a:cubicBezTo>
                    <a:pt x="187" y="0"/>
                    <a:pt x="187" y="0"/>
                    <a:pt x="18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78"/>
                    <a:pt x="0" y="678"/>
                    <a:pt x="0" y="678"/>
                  </a:cubicBezTo>
                  <a:cubicBezTo>
                    <a:pt x="252" y="678"/>
                    <a:pt x="252" y="678"/>
                    <a:pt x="252" y="678"/>
                  </a:cubicBezTo>
                  <a:cubicBezTo>
                    <a:pt x="404" y="678"/>
                    <a:pt x="404" y="678"/>
                    <a:pt x="404" y="678"/>
                  </a:cubicBezTo>
                  <a:cubicBezTo>
                    <a:pt x="430" y="678"/>
                    <a:pt x="452" y="662"/>
                    <a:pt x="462" y="639"/>
                  </a:cubicBezTo>
                  <a:cubicBezTo>
                    <a:pt x="462" y="639"/>
                    <a:pt x="462" y="639"/>
                    <a:pt x="462" y="639"/>
                  </a:cubicBezTo>
                  <a:cubicBezTo>
                    <a:pt x="515" y="513"/>
                    <a:pt x="515" y="513"/>
                    <a:pt x="515" y="513"/>
                  </a:cubicBezTo>
                  <a:lnTo>
                    <a:pt x="187" y="513"/>
                  </a:ln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3865413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7333" decel="8266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1" accel="17333" decel="82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xit" presetSubtype="4" accel="17333" decel="82667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1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25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6" grpId="0" animBg="1"/>
      <p:bldP spid="16" grpId="1" animBg="1"/>
      <p:bldP spid="17" grpId="0" animBg="1"/>
    </p:bldLst>
  </p:timing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 Layout 1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2168a0a581e_0_46"/>
          <p:cNvSpPr txBox="1">
            <a:spLocks noGrp="1"/>
          </p:cNvSpPr>
          <p:nvPr>
            <p:ph type="title"/>
          </p:nvPr>
        </p:nvSpPr>
        <p:spPr>
          <a:xfrm>
            <a:off x="574505" y="364086"/>
            <a:ext cx="10993500" cy="45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g2168a0a581e_0_46"/>
          <p:cNvSpPr txBox="1">
            <a:spLocks noGrp="1"/>
          </p:cNvSpPr>
          <p:nvPr>
            <p:ph type="sldNum" idx="12"/>
          </p:nvPr>
        </p:nvSpPr>
        <p:spPr>
          <a:xfrm>
            <a:off x="550088" y="6457027"/>
            <a:ext cx="3585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sp>
        <p:nvSpPr>
          <p:cNvPr id="23" name="Google Shape;23;g2168a0a581e_0_46"/>
          <p:cNvSpPr/>
          <p:nvPr/>
        </p:nvSpPr>
        <p:spPr>
          <a:xfrm>
            <a:off x="4776625" y="6315900"/>
            <a:ext cx="26142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24;g2168a0a581e_0_46"/>
          <p:cNvSpPr/>
          <p:nvPr/>
        </p:nvSpPr>
        <p:spPr>
          <a:xfrm>
            <a:off x="12400" y="5861400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25;g2168a0a581e_0_46"/>
          <p:cNvSpPr/>
          <p:nvPr/>
        </p:nvSpPr>
        <p:spPr>
          <a:xfrm>
            <a:off x="0" y="818575"/>
            <a:ext cx="12142500" cy="4545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48145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White slide" type="title">
  <p:cSld name="White slide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4255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24C52-BF5A-4838-B3B9-F3B8C10EF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72A772-8B5A-40D5-8D45-B2A45EE05A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1E8192-B51E-4156-96E0-8755B11A25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CDBB46-7040-4154-A973-0153A4E7A7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2E9CDD-3443-4B51-8544-50BA7C604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4B54B-2D9D-46CE-A776-1C3D1B474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3188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645CF-1945-4D34-AF80-507170AE8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3DDCAB-15FC-46BD-B753-35814479D9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4DD98A-94DB-42CF-BFC8-E1B3C3B8F7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8B7EFF-C715-4515-8580-7CAF821D6D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159317-B609-4308-9F10-88D9CF9331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79BF5B0-61F8-4B65-931C-191D0A4E8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15549C-F0BD-4481-98CE-53836D4FD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7A3237-51EC-4BC5-8B31-F51D799F4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095642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7F7A6-E437-479C-8980-9D3F90F43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3B9387-DFB9-45CE-B89E-DB1BD72AB7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BDC342-CAA2-47E8-B7BE-F6BDC4EA5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FD52DE-1B46-43B2-A72B-E62DF3EC4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53217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645D16-ED16-46CC-9366-44412A31C9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C59E3C-BD92-4B07-9046-B728485A1E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454B90-EFC2-40D8-B5A8-7AE9526B25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43223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10207-5342-4A84-950C-68E19CAD8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837B10-D23F-4A72-B6A4-08D6803909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3CEB55-E0D3-426E-BDC8-43343DDB41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56F47A-A7E9-46FA-93B5-AB52A3611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7BD6B9-6430-4B7C-97CA-BC04ECFEDA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D3E52B-133F-41EF-BA8D-E96FC4647D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37390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120FF-7096-421E-AB96-2104A3D59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FCA399-F1A0-4096-89CC-97AE454534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DC2018-0B9B-444F-BD2C-5135D8D74C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083441-8B15-495D-B1FC-6E5DFA44B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0296CC-813B-4290-A978-58CF3D342B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C0B337-2C0B-4841-8F0E-22D212FDC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393015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0DE83F-FD35-4865-8AB1-4343B292C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DE632B-707B-4D82-BF0A-720CAB1706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D2B9C3-ECE2-4B91-9830-990FF5014D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CF9C1F-4662-4EB6-A206-CAC9C2D51DCF}" type="datetimeFigureOut">
              <a:rPr lang="en-AU" smtClean="0"/>
              <a:t>22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20777-7C29-430F-9FC7-48FAF18540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1CCE13-BF5E-40F3-BA9C-65EE1B5B9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B4D23-2BC1-4AD1-B173-002A5093C07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05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5EEB2F-6BBD-A9AD-B8FB-694996295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16677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5EEB2F-6BBD-A9AD-B8FB-694996295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3246DC-E8B7-4346-A2DB-8C5F4A4A8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09" y="404813"/>
            <a:ext cx="11168183" cy="9417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305A9C-D863-40AA-BB7D-4DE856ECDA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09" y="1825627"/>
            <a:ext cx="11168183" cy="3941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5BD952-BFB6-4ED0-8A59-FB5DC5B085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08" y="6536339"/>
            <a:ext cx="15388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B953D7-B551-4D46-B831-30F0EBEC9126}"/>
              </a:ext>
            </a:extLst>
          </p:cNvPr>
          <p:cNvCxnSpPr/>
          <p:nvPr/>
        </p:nvCxnSpPr>
        <p:spPr>
          <a:xfrm>
            <a:off x="511908" y="6453188"/>
            <a:ext cx="443077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E70CD26-6112-47DE-969D-6FCBE22B82CC}"/>
              </a:ext>
            </a:extLst>
          </p:cNvPr>
          <p:cNvGrpSpPr/>
          <p:nvPr/>
        </p:nvGrpSpPr>
        <p:grpSpPr>
          <a:xfrm>
            <a:off x="10694193" y="6202222"/>
            <a:ext cx="1497807" cy="655778"/>
            <a:chOff x="8408193" y="6202221"/>
            <a:chExt cx="1497807" cy="65577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0F0999F-B650-49E9-A4A1-0B2419069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9177ADF1-CA63-4C2D-89F2-6705286FF2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78195" y="645549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4117958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2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7358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390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3246DC-E8B7-4346-A2DB-8C5F4A4A8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09" y="404813"/>
            <a:ext cx="11168183" cy="9417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305A9C-D863-40AA-BB7D-4DE856ECDA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09" y="1825627"/>
            <a:ext cx="11168183" cy="3941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5BD952-BFB6-4ED0-8A59-FB5DC5B085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08" y="6536339"/>
            <a:ext cx="15388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B953D7-B551-4D46-B831-30F0EBEC9126}"/>
              </a:ext>
            </a:extLst>
          </p:cNvPr>
          <p:cNvCxnSpPr/>
          <p:nvPr/>
        </p:nvCxnSpPr>
        <p:spPr>
          <a:xfrm>
            <a:off x="511908" y="6453188"/>
            <a:ext cx="443077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E70CD26-6112-47DE-969D-6FCBE22B82CC}"/>
              </a:ext>
            </a:extLst>
          </p:cNvPr>
          <p:cNvGrpSpPr/>
          <p:nvPr/>
        </p:nvGrpSpPr>
        <p:grpSpPr>
          <a:xfrm>
            <a:off x="10694193" y="6202222"/>
            <a:ext cx="1497807" cy="655778"/>
            <a:chOff x="8408193" y="6202221"/>
            <a:chExt cx="1497807" cy="65577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0F0999F-B650-49E9-A4A1-0B2419069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9177ADF1-CA63-4C2D-89F2-6705286FF2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78195" y="645549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3658692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2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7358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390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764C57-C5F4-6749-B3F7-3FA69F3D5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3565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764C57-C5F4-6749-B3F7-3FA69F3D5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D3246DC-E8B7-4346-A2DB-8C5F4A4A8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09" y="404813"/>
            <a:ext cx="11168183" cy="9417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305A9C-D863-40AA-BB7D-4DE856ECDA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1909" y="1825627"/>
            <a:ext cx="11168183" cy="39410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5BD952-BFB6-4ED0-8A59-FB5DC5B085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1908" y="6536339"/>
            <a:ext cx="15388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97ED8D59-B415-4074-B425-DC47C63101D6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BB953D7-B551-4D46-B831-30F0EBEC9126}"/>
              </a:ext>
            </a:extLst>
          </p:cNvPr>
          <p:cNvCxnSpPr/>
          <p:nvPr/>
        </p:nvCxnSpPr>
        <p:spPr>
          <a:xfrm>
            <a:off x="511908" y="6453188"/>
            <a:ext cx="443077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E70CD26-6112-47DE-969D-6FCBE22B82CC}"/>
              </a:ext>
            </a:extLst>
          </p:cNvPr>
          <p:cNvGrpSpPr/>
          <p:nvPr/>
        </p:nvGrpSpPr>
        <p:grpSpPr>
          <a:xfrm>
            <a:off x="10694193" y="6202222"/>
            <a:ext cx="1497807" cy="655778"/>
            <a:chOff x="8408193" y="6202221"/>
            <a:chExt cx="1497807" cy="65577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0F0999F-B650-49E9-A4A1-0B241906985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AU"/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9177ADF1-CA63-4C2D-89F2-6705286FF2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78195" y="645549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rgbClr val="80C3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51065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ransition spd="med">
    <p:fade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2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7358">
          <p15:clr>
            <a:srgbClr val="F26B43"/>
          </p15:clr>
        </p15:guide>
        <p15:guide id="4" orient="horz" pos="4065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F55C34D8-553E-4F3A-B90B-1AC77F24ED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4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1C3D033-7B02-FFFA-BB1B-A0F3D5D97EF3}"/>
              </a:ext>
            </a:extLst>
          </p:cNvPr>
          <p:cNvSpPr txBox="1"/>
          <p:nvPr/>
        </p:nvSpPr>
        <p:spPr>
          <a:xfrm>
            <a:off x="541866" y="6005688"/>
            <a:ext cx="2607733" cy="307777"/>
          </a:xfrm>
          <a:prstGeom prst="rect">
            <a:avLst/>
          </a:prstGeom>
          <a:solidFill>
            <a:srgbClr val="303E46"/>
          </a:solidFill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bg1"/>
                </a:solidFill>
                <a:latin typeface="Pluto Sans Medium" panose="02000000000000000000" pitchFamily="50" charset="0"/>
              </a:rPr>
              <a:t>September</a:t>
            </a:r>
            <a:r>
              <a:rPr lang="en-AU" sz="1400" dirty="0"/>
              <a:t> </a:t>
            </a:r>
            <a:r>
              <a:rPr lang="en-AU" sz="1400" dirty="0">
                <a:solidFill>
                  <a:schemeClr val="bg1"/>
                </a:solidFill>
                <a:latin typeface="Pluto Sans Medium" panose="02000000000000000000" pitchFamily="50" charset="0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4054607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8F8BCB0-28DD-7C79-DDC8-A958F074A7CF}"/>
              </a:ext>
            </a:extLst>
          </p:cNvPr>
          <p:cNvSpPr/>
          <p:nvPr/>
        </p:nvSpPr>
        <p:spPr>
          <a:xfrm flipH="1">
            <a:off x="0" y="2254100"/>
            <a:ext cx="12191998" cy="45891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lowchart: Delay 6">
            <a:extLst>
              <a:ext uri="{FF2B5EF4-FFF2-40B4-BE49-F238E27FC236}">
                <a16:creationId xmlns:a16="http://schemas.microsoft.com/office/drawing/2014/main" id="{8AF85824-5175-0CC0-12DE-3DF1784AD76B}"/>
              </a:ext>
            </a:extLst>
          </p:cNvPr>
          <p:cNvSpPr/>
          <p:nvPr/>
        </p:nvSpPr>
        <p:spPr>
          <a:xfrm rot="16200000">
            <a:off x="5366925" y="35056"/>
            <a:ext cx="1458139" cy="12192001"/>
          </a:xfrm>
          <a:prstGeom prst="flowChartDelay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lowchart: Delay 3">
            <a:extLst>
              <a:ext uri="{FF2B5EF4-FFF2-40B4-BE49-F238E27FC236}">
                <a16:creationId xmlns:a16="http://schemas.microsoft.com/office/drawing/2014/main" id="{D9443A10-BD9A-027E-57EA-72A642E08D19}"/>
              </a:ext>
            </a:extLst>
          </p:cNvPr>
          <p:cNvSpPr/>
          <p:nvPr/>
        </p:nvSpPr>
        <p:spPr>
          <a:xfrm rot="16200000">
            <a:off x="5127105" y="-4810802"/>
            <a:ext cx="1937800" cy="12192001"/>
          </a:xfrm>
          <a:prstGeom prst="flowChartDela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1D1FF6-975F-C78A-5E86-7020C3E312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1D1FF6-975F-C78A-5E86-7020C3E312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Rectangle 156">
            <a:extLst>
              <a:ext uri="{FF2B5EF4-FFF2-40B4-BE49-F238E27FC236}">
                <a16:creationId xmlns:a16="http://schemas.microsoft.com/office/drawing/2014/main" id="{1D30C825-E05C-14AA-3316-9A88AF04F7E3}"/>
              </a:ext>
            </a:extLst>
          </p:cNvPr>
          <p:cNvSpPr/>
          <p:nvPr/>
        </p:nvSpPr>
        <p:spPr>
          <a:xfrm>
            <a:off x="10600660" y="6150631"/>
            <a:ext cx="1591340" cy="7073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ACC619-BEBE-5490-9F6C-87E0D69E05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AU"/>
              <a:t>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0C28BFB-1F8A-E559-3F0A-145725A79573}"/>
              </a:ext>
            </a:extLst>
          </p:cNvPr>
          <p:cNvSpPr/>
          <p:nvPr/>
        </p:nvSpPr>
        <p:spPr>
          <a:xfrm>
            <a:off x="7918252" y="1816719"/>
            <a:ext cx="3832029" cy="8358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marL="0" marR="0" lvl="0" indent="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DURING EMPLOYEES’ CLAIM</a:t>
            </a:r>
          </a:p>
          <a:p>
            <a:pPr marL="0" marR="0" lvl="0" indent="361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3. EMPOWERING RECOVE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282B4-BA85-AC01-C1D6-A470B099E3BA}"/>
              </a:ext>
            </a:extLst>
          </p:cNvPr>
          <p:cNvSpPr txBox="1"/>
          <p:nvPr/>
        </p:nvSpPr>
        <p:spPr>
          <a:xfrm>
            <a:off x="4390897" y="2770876"/>
            <a:ext cx="3388877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Pluto Sans Medium" panose="020000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Supporting your employees’ health and wellbeing in the event they                      need to make a claim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80C342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Condition-focused services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 to manage claim conditions and support carers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80C342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In-house health experts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 support evidence-based reviews and faster claims decisions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80C342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Access to our online health directory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 of community-based health service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88EDD07-6AFE-C4D2-F91B-408DD84A2288}"/>
              </a:ext>
            </a:extLst>
          </p:cNvPr>
          <p:cNvSpPr txBox="1"/>
          <p:nvPr/>
        </p:nvSpPr>
        <p:spPr>
          <a:xfrm>
            <a:off x="592059" y="2770876"/>
            <a:ext cx="3208664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80C342"/>
              </a:buClr>
              <a:buSzPct val="100000"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Supporting and engaging your employees to help them tangibly improve their health outcomes.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AD8C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Engagement tools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to support physical, mental and financial health engagement, and encouraging preventative checks.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AD8C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Content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to help your employees be informed, check themselves and take action.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AD8C8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Employer health activations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including skin checks and heart health check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FCFD700-C681-CD28-55E2-74EC3CA19F0C}"/>
              </a:ext>
            </a:extLst>
          </p:cNvPr>
          <p:cNvSpPr txBox="1"/>
          <p:nvPr/>
        </p:nvSpPr>
        <p:spPr>
          <a:xfrm>
            <a:off x="8318090" y="2770876"/>
            <a:ext cx="3281851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200">
                <a:latin typeface="Pluto Sans Medium" panose="02000000000000000000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80C342"/>
              </a:buClr>
              <a:buSzPct val="100000"/>
              <a:buFontTx/>
              <a:buNone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Supporting your employees to achieve their best possible health and work outcomes.  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2FB3B6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  <a:sym typeface="Arial"/>
              </a:rPr>
              <a:t>Recovery and support specialists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  <a:sym typeface="Arial"/>
              </a:rPr>
              <a:t>help to develop appropriate recovery strategies.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2FB3B6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  <a:sym typeface="Arial"/>
              </a:rPr>
              <a:t>Career and return-to-work coaching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  <a:sym typeface="Arial"/>
              </a:rPr>
              <a:t>to explore future career paths.</a:t>
            </a:r>
          </a:p>
          <a:p>
            <a:pPr marL="182563" marR="0" lvl="1" indent="-182563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2FB3B6"/>
              </a:buClr>
              <a:buSzPct val="10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  <a:sym typeface="Arial"/>
              </a:rPr>
              <a:t>Member stories </a:t>
            </a: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  <a:sym typeface="Arial"/>
              </a:rPr>
              <a:t>explaining how others coped with their health challenges.</a:t>
            </a:r>
          </a:p>
        </p:txBody>
      </p:sp>
      <p:pic>
        <p:nvPicPr>
          <p:cNvPr id="155" name="object 36">
            <a:extLst>
              <a:ext uri="{FF2B5EF4-FFF2-40B4-BE49-F238E27FC236}">
                <a16:creationId xmlns:a16="http://schemas.microsoft.com/office/drawing/2014/main" id="{1F1D1328-8168-A25F-D925-FD74820A2C1A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363200" y="4784438"/>
            <a:ext cx="1800726" cy="2058812"/>
          </a:xfrm>
          <a:prstGeom prst="rect">
            <a:avLst/>
          </a:prstGeom>
        </p:spPr>
      </p:pic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61C6C4CF-E43D-840B-50DE-BBBF3A7922F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1908" y="6536339"/>
            <a:ext cx="80150" cy="1384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D8D59-B415-4074-B425-DC47C63101D6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 panose="02000000000000000000" pitchFamily="50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29798B7-D807-A935-FC5C-A79A5FC0F2CC}"/>
              </a:ext>
            </a:extLst>
          </p:cNvPr>
          <p:cNvSpPr txBox="1"/>
          <p:nvPr/>
        </p:nvSpPr>
        <p:spPr>
          <a:xfrm>
            <a:off x="4207350" y="5579538"/>
            <a:ext cx="377728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0" normalizeH="0" baseline="0" noProof="0">
                <a:ln>
                  <a:noFill/>
                </a:ln>
                <a:solidFill>
                  <a:srgbClr val="80C342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OUR HEALTH FOR LIFE PRINCIPLES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90EABEC0-E07F-7C8F-3F1B-A64F99F61C79}"/>
              </a:ext>
            </a:extLst>
          </p:cNvPr>
          <p:cNvSpPr/>
          <p:nvPr/>
        </p:nvSpPr>
        <p:spPr>
          <a:xfrm>
            <a:off x="2994051" y="6029109"/>
            <a:ext cx="1940330" cy="512590"/>
          </a:xfrm>
          <a:prstGeom prst="roundRect">
            <a:avLst>
              <a:gd name="adj" fmla="val 50000"/>
            </a:avLst>
          </a:prstGeom>
          <a:solidFill>
            <a:srgbClr val="EFEFD2"/>
          </a:solidFill>
          <a:ln>
            <a:noFill/>
          </a:ln>
        </p:spPr>
        <p:txBody>
          <a:bodyPr spcFirstLastPara="1" wrap="square" lIns="18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Roboto"/>
                <a:cs typeface="Roboto"/>
              </a:rPr>
              <a:t>Holistic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C009CDC1-E800-036F-FAAE-6FF282581CD0}"/>
              </a:ext>
            </a:extLst>
          </p:cNvPr>
          <p:cNvSpPr/>
          <p:nvPr/>
        </p:nvSpPr>
        <p:spPr>
          <a:xfrm>
            <a:off x="5125835" y="6029109"/>
            <a:ext cx="1940330" cy="512590"/>
          </a:xfrm>
          <a:prstGeom prst="roundRect">
            <a:avLst>
              <a:gd name="adj" fmla="val 50000"/>
            </a:avLst>
          </a:prstGeom>
          <a:solidFill>
            <a:srgbClr val="EFEFD2"/>
          </a:solidFill>
          <a:ln>
            <a:noFill/>
          </a:ln>
        </p:spPr>
        <p:txBody>
          <a:bodyPr spcFirstLastPara="1" wrap="square" lIns="18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Roboto"/>
                <a:cs typeface="Roboto"/>
              </a:rPr>
              <a:t>Relevant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F1A40B1D-D3A0-A495-53D2-761B9DDC6EC7}"/>
              </a:ext>
            </a:extLst>
          </p:cNvPr>
          <p:cNvSpPr/>
          <p:nvPr/>
        </p:nvSpPr>
        <p:spPr>
          <a:xfrm>
            <a:off x="7257618" y="6029109"/>
            <a:ext cx="1940330" cy="512590"/>
          </a:xfrm>
          <a:prstGeom prst="roundRect">
            <a:avLst>
              <a:gd name="adj" fmla="val 50000"/>
            </a:avLst>
          </a:prstGeom>
          <a:solidFill>
            <a:srgbClr val="EFEFD2"/>
          </a:solidFill>
          <a:ln>
            <a:noFill/>
          </a:ln>
        </p:spPr>
        <p:txBody>
          <a:bodyPr spcFirstLastPara="1" wrap="square" lIns="180000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en-AU" sz="1400" b="0" i="0" u="none" strike="noStrike" kern="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Roboto"/>
                <a:cs typeface="Roboto"/>
              </a:rPr>
              <a:t>Impactful</a:t>
            </a:r>
          </a:p>
        </p:txBody>
      </p:sp>
      <p:sp>
        <p:nvSpPr>
          <p:cNvPr id="30" name="Graphic 156">
            <a:extLst>
              <a:ext uri="{FF2B5EF4-FFF2-40B4-BE49-F238E27FC236}">
                <a16:creationId xmlns:a16="http://schemas.microsoft.com/office/drawing/2014/main" id="{42DC3DA6-BFE9-160F-DB3B-5AB9B48EA01A}"/>
              </a:ext>
            </a:extLst>
          </p:cNvPr>
          <p:cNvSpPr/>
          <p:nvPr/>
        </p:nvSpPr>
        <p:spPr>
          <a:xfrm>
            <a:off x="3190631" y="6136814"/>
            <a:ext cx="297181" cy="297181"/>
          </a:xfrm>
          <a:custGeom>
            <a:avLst/>
            <a:gdLst>
              <a:gd name="connsiteX0" fmla="*/ 148591 w 297181"/>
              <a:gd name="connsiteY0" fmla="*/ 0 h 297181"/>
              <a:gd name="connsiteX1" fmla="*/ 0 w 297181"/>
              <a:gd name="connsiteY1" fmla="*/ 148586 h 297181"/>
              <a:gd name="connsiteX2" fmla="*/ 148591 w 297181"/>
              <a:gd name="connsiteY2" fmla="*/ 297182 h 297181"/>
              <a:gd name="connsiteX3" fmla="*/ 297182 w 297181"/>
              <a:gd name="connsiteY3" fmla="*/ 148586 h 297181"/>
              <a:gd name="connsiteX4" fmla="*/ 148591 w 297181"/>
              <a:gd name="connsiteY4" fmla="*/ 0 h 297181"/>
              <a:gd name="connsiteX5" fmla="*/ 285460 w 297181"/>
              <a:gd name="connsiteY5" fmla="*/ 142870 h 297181"/>
              <a:gd name="connsiteX6" fmla="*/ 222759 w 297181"/>
              <a:gd name="connsiteY6" fmla="*/ 142870 h 297181"/>
              <a:gd name="connsiteX7" fmla="*/ 215010 w 297181"/>
              <a:gd name="connsiteY7" fmla="*/ 63472 h 297181"/>
              <a:gd name="connsiteX8" fmla="*/ 243261 w 297181"/>
              <a:gd name="connsiteY8" fmla="*/ 49584 h 297181"/>
              <a:gd name="connsiteX9" fmla="*/ 285460 w 297181"/>
              <a:gd name="connsiteY9" fmla="*/ 142870 h 297181"/>
              <a:gd name="connsiteX10" fmla="*/ 234328 w 297181"/>
              <a:gd name="connsiteY10" fmla="*/ 41792 h 297181"/>
              <a:gd name="connsiteX11" fmla="*/ 212696 w 297181"/>
              <a:gd name="connsiteY11" fmla="*/ 52199 h 297181"/>
              <a:gd name="connsiteX12" fmla="*/ 204913 w 297181"/>
              <a:gd name="connsiteY12" fmla="*/ 23758 h 297181"/>
              <a:gd name="connsiteX13" fmla="*/ 234328 w 297181"/>
              <a:gd name="connsiteY13" fmla="*/ 41792 h 297181"/>
              <a:gd name="connsiteX14" fmla="*/ 154307 w 297181"/>
              <a:gd name="connsiteY14" fmla="*/ 11667 h 297181"/>
              <a:gd name="connsiteX15" fmla="*/ 190708 w 297181"/>
              <a:gd name="connsiteY15" fmla="*/ 18190 h 297181"/>
              <a:gd name="connsiteX16" fmla="*/ 201717 w 297181"/>
              <a:gd name="connsiteY16" fmla="*/ 55721 h 297181"/>
              <a:gd name="connsiteX17" fmla="*/ 154307 w 297181"/>
              <a:gd name="connsiteY17" fmla="*/ 62713 h 297181"/>
              <a:gd name="connsiteX18" fmla="*/ 154307 w 297181"/>
              <a:gd name="connsiteY18" fmla="*/ 11667 h 297181"/>
              <a:gd name="connsiteX19" fmla="*/ 154307 w 297181"/>
              <a:gd name="connsiteY19" fmla="*/ 74140 h 297181"/>
              <a:gd name="connsiteX20" fmla="*/ 203966 w 297181"/>
              <a:gd name="connsiteY20" fmla="*/ 66969 h 297181"/>
              <a:gd name="connsiteX21" fmla="*/ 211325 w 297181"/>
              <a:gd name="connsiteY21" fmla="*/ 142870 h 297181"/>
              <a:gd name="connsiteX22" fmla="*/ 154307 w 297181"/>
              <a:gd name="connsiteY22" fmla="*/ 142870 h 297181"/>
              <a:gd name="connsiteX23" fmla="*/ 154307 w 297181"/>
              <a:gd name="connsiteY23" fmla="*/ 74140 h 297181"/>
              <a:gd name="connsiteX24" fmla="*/ 106937 w 297181"/>
              <a:gd name="connsiteY24" fmla="*/ 18039 h 297181"/>
              <a:gd name="connsiteX25" fmla="*/ 142875 w 297181"/>
              <a:gd name="connsiteY25" fmla="*/ 11664 h 297181"/>
              <a:gd name="connsiteX26" fmla="*/ 142875 w 297181"/>
              <a:gd name="connsiteY26" fmla="*/ 62773 h 297181"/>
              <a:gd name="connsiteX27" fmla="*/ 95515 w 297181"/>
              <a:gd name="connsiteY27" fmla="*/ 56081 h 297181"/>
              <a:gd name="connsiteX28" fmla="*/ 106937 w 297181"/>
              <a:gd name="connsiteY28" fmla="*/ 18039 h 297181"/>
              <a:gd name="connsiteX29" fmla="*/ 142875 w 297181"/>
              <a:gd name="connsiteY29" fmla="*/ 74206 h 297181"/>
              <a:gd name="connsiteX30" fmla="*/ 142875 w 297181"/>
              <a:gd name="connsiteY30" fmla="*/ 142870 h 297181"/>
              <a:gd name="connsiteX31" fmla="*/ 85855 w 297181"/>
              <a:gd name="connsiteY31" fmla="*/ 142870 h 297181"/>
              <a:gd name="connsiteX32" fmla="*/ 93215 w 297181"/>
              <a:gd name="connsiteY32" fmla="*/ 67391 h 297181"/>
              <a:gd name="connsiteX33" fmla="*/ 142875 w 297181"/>
              <a:gd name="connsiteY33" fmla="*/ 74206 h 297181"/>
              <a:gd name="connsiteX34" fmla="*/ 92738 w 297181"/>
              <a:gd name="connsiteY34" fmla="*/ 23497 h 297181"/>
              <a:gd name="connsiteX35" fmla="*/ 84577 w 297181"/>
              <a:gd name="connsiteY35" fmla="*/ 52736 h 297181"/>
              <a:gd name="connsiteX36" fmla="*/ 61916 w 297181"/>
              <a:gd name="connsiteY36" fmla="*/ 42399 h 297181"/>
              <a:gd name="connsiteX37" fmla="*/ 92738 w 297181"/>
              <a:gd name="connsiteY37" fmla="*/ 23497 h 297181"/>
              <a:gd name="connsiteX38" fmla="*/ 53146 w 297181"/>
              <a:gd name="connsiteY38" fmla="*/ 50395 h 297181"/>
              <a:gd name="connsiteX39" fmla="*/ 82240 w 297181"/>
              <a:gd name="connsiteY39" fmla="*/ 64033 h 297181"/>
              <a:gd name="connsiteX40" fmla="*/ 74425 w 297181"/>
              <a:gd name="connsiteY40" fmla="*/ 142870 h 297181"/>
              <a:gd name="connsiteX41" fmla="*/ 11760 w 297181"/>
              <a:gd name="connsiteY41" fmla="*/ 142870 h 297181"/>
              <a:gd name="connsiteX42" fmla="*/ 53146 w 297181"/>
              <a:gd name="connsiteY42" fmla="*/ 50395 h 297181"/>
              <a:gd name="connsiteX43" fmla="*/ 11764 w 297181"/>
              <a:gd name="connsiteY43" fmla="*/ 154302 h 297181"/>
              <a:gd name="connsiteX44" fmla="*/ 74425 w 297181"/>
              <a:gd name="connsiteY44" fmla="*/ 154302 h 297181"/>
              <a:gd name="connsiteX45" fmla="*/ 82487 w 297181"/>
              <a:gd name="connsiteY45" fmla="*/ 234402 h 297181"/>
              <a:gd name="connsiteX46" fmla="*/ 54294 w 297181"/>
              <a:gd name="connsiteY46" fmla="*/ 247800 h 297181"/>
              <a:gd name="connsiteX47" fmla="*/ 11764 w 297181"/>
              <a:gd name="connsiteY47" fmla="*/ 154302 h 297181"/>
              <a:gd name="connsiteX48" fmla="*/ 63148 w 297181"/>
              <a:gd name="connsiteY48" fmla="*/ 255702 h 297181"/>
              <a:gd name="connsiteX49" fmla="*/ 84873 w 297181"/>
              <a:gd name="connsiteY49" fmla="*/ 245625 h 297181"/>
              <a:gd name="connsiteX50" fmla="*/ 92735 w 297181"/>
              <a:gd name="connsiteY50" fmla="*/ 273694 h 297181"/>
              <a:gd name="connsiteX51" fmla="*/ 63148 w 297181"/>
              <a:gd name="connsiteY51" fmla="*/ 255702 h 297181"/>
              <a:gd name="connsiteX52" fmla="*/ 85856 w 297181"/>
              <a:gd name="connsiteY52" fmla="*/ 154302 h 297181"/>
              <a:gd name="connsiteX53" fmla="*/ 142875 w 297181"/>
              <a:gd name="connsiteY53" fmla="*/ 154302 h 297181"/>
              <a:gd name="connsiteX54" fmla="*/ 142875 w 297181"/>
              <a:gd name="connsiteY54" fmla="*/ 224114 h 297181"/>
              <a:gd name="connsiteX55" fmla="*/ 93455 w 297181"/>
              <a:gd name="connsiteY55" fmla="*/ 231013 h 297181"/>
              <a:gd name="connsiteX56" fmla="*/ 85856 w 297181"/>
              <a:gd name="connsiteY56" fmla="*/ 154302 h 297181"/>
              <a:gd name="connsiteX57" fmla="*/ 95797 w 297181"/>
              <a:gd name="connsiteY57" fmla="*/ 242227 h 297181"/>
              <a:gd name="connsiteX58" fmla="*/ 142875 w 297181"/>
              <a:gd name="connsiteY58" fmla="*/ 235542 h 297181"/>
              <a:gd name="connsiteX59" fmla="*/ 142875 w 297181"/>
              <a:gd name="connsiteY59" fmla="*/ 285524 h 297181"/>
              <a:gd name="connsiteX60" fmla="*/ 106994 w 297181"/>
              <a:gd name="connsiteY60" fmla="*/ 279261 h 297181"/>
              <a:gd name="connsiteX61" fmla="*/ 95797 w 297181"/>
              <a:gd name="connsiteY61" fmla="*/ 242227 h 297181"/>
              <a:gd name="connsiteX62" fmla="*/ 190179 w 297181"/>
              <a:gd name="connsiteY62" fmla="*/ 279263 h 297181"/>
              <a:gd name="connsiteX63" fmla="*/ 154307 w 297181"/>
              <a:gd name="connsiteY63" fmla="*/ 285525 h 297181"/>
              <a:gd name="connsiteX64" fmla="*/ 154307 w 297181"/>
              <a:gd name="connsiteY64" fmla="*/ 235540 h 297181"/>
              <a:gd name="connsiteX65" fmla="*/ 201404 w 297181"/>
              <a:gd name="connsiteY65" fmla="*/ 242138 h 297181"/>
              <a:gd name="connsiteX66" fmla="*/ 190179 w 297181"/>
              <a:gd name="connsiteY66" fmla="*/ 279263 h 297181"/>
              <a:gd name="connsiteX67" fmla="*/ 154307 w 297181"/>
              <a:gd name="connsiteY67" fmla="*/ 224106 h 297181"/>
              <a:gd name="connsiteX68" fmla="*/ 154307 w 297181"/>
              <a:gd name="connsiteY68" fmla="*/ 154302 h 297181"/>
              <a:gd name="connsiteX69" fmla="*/ 211325 w 297181"/>
              <a:gd name="connsiteY69" fmla="*/ 154302 h 297181"/>
              <a:gd name="connsiteX70" fmla="*/ 203760 w 297181"/>
              <a:gd name="connsiteY70" fmla="*/ 230827 h 297181"/>
              <a:gd name="connsiteX71" fmla="*/ 154307 w 297181"/>
              <a:gd name="connsiteY71" fmla="*/ 224106 h 297181"/>
              <a:gd name="connsiteX72" fmla="*/ 204454 w 297181"/>
              <a:gd name="connsiteY72" fmla="*/ 273652 h 297181"/>
              <a:gd name="connsiteX73" fmla="*/ 212331 w 297181"/>
              <a:gd name="connsiteY73" fmla="*/ 245519 h 297181"/>
              <a:gd name="connsiteX74" fmla="*/ 233914 w 297181"/>
              <a:gd name="connsiteY74" fmla="*/ 255577 h 297181"/>
              <a:gd name="connsiteX75" fmla="*/ 204454 w 297181"/>
              <a:gd name="connsiteY75" fmla="*/ 273652 h 297181"/>
              <a:gd name="connsiteX76" fmla="*/ 243009 w 297181"/>
              <a:gd name="connsiteY76" fmla="*/ 247824 h 297181"/>
              <a:gd name="connsiteX77" fmla="*/ 214728 w 297181"/>
              <a:gd name="connsiteY77" fmla="*/ 234213 h 297181"/>
              <a:gd name="connsiteX78" fmla="*/ 222756 w 297181"/>
              <a:gd name="connsiteY78" fmla="*/ 154302 h 297181"/>
              <a:gd name="connsiteX79" fmla="*/ 285460 w 297181"/>
              <a:gd name="connsiteY79" fmla="*/ 154302 h 297181"/>
              <a:gd name="connsiteX80" fmla="*/ 243009 w 297181"/>
              <a:gd name="connsiteY80" fmla="*/ 247824 h 297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297181" h="297181">
                <a:moveTo>
                  <a:pt x="148591" y="0"/>
                </a:moveTo>
                <a:cubicBezTo>
                  <a:pt x="66656" y="0"/>
                  <a:pt x="0" y="66656"/>
                  <a:pt x="0" y="148586"/>
                </a:cubicBezTo>
                <a:cubicBezTo>
                  <a:pt x="0" y="230521"/>
                  <a:pt x="66656" y="297182"/>
                  <a:pt x="148591" y="297182"/>
                </a:cubicBezTo>
                <a:cubicBezTo>
                  <a:pt x="230526" y="297182"/>
                  <a:pt x="297182" y="230521"/>
                  <a:pt x="297182" y="148586"/>
                </a:cubicBezTo>
                <a:cubicBezTo>
                  <a:pt x="297182" y="66656"/>
                  <a:pt x="230526" y="0"/>
                  <a:pt x="148591" y="0"/>
                </a:cubicBezTo>
                <a:close/>
                <a:moveTo>
                  <a:pt x="285460" y="142870"/>
                </a:moveTo>
                <a:lnTo>
                  <a:pt x="222759" y="142870"/>
                </a:lnTo>
                <a:cubicBezTo>
                  <a:pt x="222426" y="115302"/>
                  <a:pt x="219704" y="88043"/>
                  <a:pt x="215010" y="63472"/>
                </a:cubicBezTo>
                <a:cubicBezTo>
                  <a:pt x="225663" y="59717"/>
                  <a:pt x="235144" y="55014"/>
                  <a:pt x="243261" y="49584"/>
                </a:cubicBezTo>
                <a:cubicBezTo>
                  <a:pt x="268087" y="73331"/>
                  <a:pt x="283940" y="106251"/>
                  <a:pt x="285460" y="142870"/>
                </a:cubicBezTo>
                <a:close/>
                <a:moveTo>
                  <a:pt x="234328" y="41792"/>
                </a:moveTo>
                <a:cubicBezTo>
                  <a:pt x="227946" y="45760"/>
                  <a:pt x="220715" y="49273"/>
                  <a:pt x="212696" y="52199"/>
                </a:cubicBezTo>
                <a:cubicBezTo>
                  <a:pt x="210428" y="42079"/>
                  <a:pt x="207844" y="32511"/>
                  <a:pt x="204913" y="23758"/>
                </a:cubicBezTo>
                <a:cubicBezTo>
                  <a:pt x="215483" y="28568"/>
                  <a:pt x="225383" y="34586"/>
                  <a:pt x="234328" y="41792"/>
                </a:cubicBezTo>
                <a:close/>
                <a:moveTo>
                  <a:pt x="154307" y="11667"/>
                </a:moveTo>
                <a:cubicBezTo>
                  <a:pt x="166956" y="12213"/>
                  <a:pt x="179164" y="14433"/>
                  <a:pt x="190708" y="18190"/>
                </a:cubicBezTo>
                <a:cubicBezTo>
                  <a:pt x="194958" y="29076"/>
                  <a:pt x="198657" y="41788"/>
                  <a:pt x="201717" y="55721"/>
                </a:cubicBezTo>
                <a:cubicBezTo>
                  <a:pt x="187263" y="59807"/>
                  <a:pt x="171110" y="62192"/>
                  <a:pt x="154307" y="62713"/>
                </a:cubicBezTo>
                <a:lnTo>
                  <a:pt x="154307" y="11667"/>
                </a:lnTo>
                <a:close/>
                <a:moveTo>
                  <a:pt x="154307" y="74140"/>
                </a:moveTo>
                <a:cubicBezTo>
                  <a:pt x="171782" y="73618"/>
                  <a:pt x="188709" y="71202"/>
                  <a:pt x="203966" y="66969"/>
                </a:cubicBezTo>
                <a:cubicBezTo>
                  <a:pt x="208381" y="90609"/>
                  <a:pt x="210989" y="116805"/>
                  <a:pt x="211325" y="142870"/>
                </a:cubicBezTo>
                <a:lnTo>
                  <a:pt x="154307" y="142870"/>
                </a:lnTo>
                <a:lnTo>
                  <a:pt x="154307" y="74140"/>
                </a:lnTo>
                <a:close/>
                <a:moveTo>
                  <a:pt x="106937" y="18039"/>
                </a:moveTo>
                <a:cubicBezTo>
                  <a:pt x="118350" y="14383"/>
                  <a:pt x="130398" y="12206"/>
                  <a:pt x="142875" y="11664"/>
                </a:cubicBezTo>
                <a:lnTo>
                  <a:pt x="142875" y="62773"/>
                </a:lnTo>
                <a:cubicBezTo>
                  <a:pt x="126488" y="62388"/>
                  <a:pt x="110252" y="60085"/>
                  <a:pt x="95515" y="56081"/>
                </a:cubicBezTo>
                <a:cubicBezTo>
                  <a:pt x="98657" y="42062"/>
                  <a:pt x="102493" y="29214"/>
                  <a:pt x="106937" y="18039"/>
                </a:cubicBezTo>
                <a:close/>
                <a:moveTo>
                  <a:pt x="142875" y="74206"/>
                </a:moveTo>
                <a:lnTo>
                  <a:pt x="142875" y="142870"/>
                </a:lnTo>
                <a:lnTo>
                  <a:pt x="85855" y="142870"/>
                </a:lnTo>
                <a:cubicBezTo>
                  <a:pt x="86187" y="116682"/>
                  <a:pt x="88768" y="90808"/>
                  <a:pt x="93215" y="67391"/>
                </a:cubicBezTo>
                <a:cubicBezTo>
                  <a:pt x="108659" y="71522"/>
                  <a:pt x="125597" y="73836"/>
                  <a:pt x="142875" y="74206"/>
                </a:cubicBezTo>
                <a:close/>
                <a:moveTo>
                  <a:pt x="92738" y="23497"/>
                </a:moveTo>
                <a:cubicBezTo>
                  <a:pt x="89696" y="32434"/>
                  <a:pt x="86918" y="42413"/>
                  <a:pt x="84577" y="52736"/>
                </a:cubicBezTo>
                <a:cubicBezTo>
                  <a:pt x="76208" y="49838"/>
                  <a:pt x="68625" y="46332"/>
                  <a:pt x="61916" y="42399"/>
                </a:cubicBezTo>
                <a:cubicBezTo>
                  <a:pt x="71235" y="34780"/>
                  <a:pt x="81614" y="28454"/>
                  <a:pt x="92738" y="23497"/>
                </a:cubicBezTo>
                <a:close/>
                <a:moveTo>
                  <a:pt x="53146" y="50395"/>
                </a:moveTo>
                <a:cubicBezTo>
                  <a:pt x="61609" y="55752"/>
                  <a:pt x="71391" y="60365"/>
                  <a:pt x="82240" y="64033"/>
                </a:cubicBezTo>
                <a:cubicBezTo>
                  <a:pt x="77508" y="88503"/>
                  <a:pt x="74764" y="115554"/>
                  <a:pt x="74425" y="142870"/>
                </a:cubicBezTo>
                <a:lnTo>
                  <a:pt x="11760" y="142870"/>
                </a:lnTo>
                <a:cubicBezTo>
                  <a:pt x="13267" y="106654"/>
                  <a:pt x="28780" y="74076"/>
                  <a:pt x="53146" y="50395"/>
                </a:cubicBezTo>
                <a:close/>
                <a:moveTo>
                  <a:pt x="11764" y="154302"/>
                </a:moveTo>
                <a:lnTo>
                  <a:pt x="74425" y="154302"/>
                </a:lnTo>
                <a:cubicBezTo>
                  <a:pt x="74770" y="182082"/>
                  <a:pt x="77601" y="209601"/>
                  <a:pt x="82487" y="234402"/>
                </a:cubicBezTo>
                <a:cubicBezTo>
                  <a:pt x="71922" y="238021"/>
                  <a:pt x="62461" y="242561"/>
                  <a:pt x="54294" y="247800"/>
                </a:cubicBezTo>
                <a:cubicBezTo>
                  <a:pt x="29289" y="224042"/>
                  <a:pt x="13298" y="191063"/>
                  <a:pt x="11764" y="154302"/>
                </a:cubicBezTo>
                <a:close/>
                <a:moveTo>
                  <a:pt x="63148" y="255702"/>
                </a:moveTo>
                <a:cubicBezTo>
                  <a:pt x="69602" y="251856"/>
                  <a:pt x="76866" y="248454"/>
                  <a:pt x="84873" y="245625"/>
                </a:cubicBezTo>
                <a:cubicBezTo>
                  <a:pt x="87171" y="255593"/>
                  <a:pt x="89778" y="265040"/>
                  <a:pt x="92735" y="273694"/>
                </a:cubicBezTo>
                <a:cubicBezTo>
                  <a:pt x="82106" y="268915"/>
                  <a:pt x="72150" y="262899"/>
                  <a:pt x="63148" y="255702"/>
                </a:cubicBezTo>
                <a:close/>
                <a:moveTo>
                  <a:pt x="85856" y="154302"/>
                </a:moveTo>
                <a:lnTo>
                  <a:pt x="142875" y="154302"/>
                </a:lnTo>
                <a:lnTo>
                  <a:pt x="142875" y="224114"/>
                </a:lnTo>
                <a:cubicBezTo>
                  <a:pt x="125582" y="224558"/>
                  <a:pt x="108727" y="226885"/>
                  <a:pt x="93455" y="231013"/>
                </a:cubicBezTo>
                <a:cubicBezTo>
                  <a:pt x="88861" y="207274"/>
                  <a:pt x="86193" y="180946"/>
                  <a:pt x="85856" y="154302"/>
                </a:cubicBezTo>
                <a:close/>
                <a:moveTo>
                  <a:pt x="95797" y="242227"/>
                </a:moveTo>
                <a:cubicBezTo>
                  <a:pt x="110244" y="238265"/>
                  <a:pt x="126296" y="235984"/>
                  <a:pt x="142875" y="235542"/>
                </a:cubicBezTo>
                <a:lnTo>
                  <a:pt x="142875" y="285524"/>
                </a:lnTo>
                <a:cubicBezTo>
                  <a:pt x="130425" y="285002"/>
                  <a:pt x="118383" y="282894"/>
                  <a:pt x="106994" y="279261"/>
                </a:cubicBezTo>
                <a:cubicBezTo>
                  <a:pt x="102652" y="268360"/>
                  <a:pt x="98903" y="255846"/>
                  <a:pt x="95797" y="242227"/>
                </a:cubicBezTo>
                <a:close/>
                <a:moveTo>
                  <a:pt x="190179" y="279263"/>
                </a:moveTo>
                <a:cubicBezTo>
                  <a:pt x="178793" y="282895"/>
                  <a:pt x="166754" y="285002"/>
                  <a:pt x="154307" y="285525"/>
                </a:cubicBezTo>
                <a:lnTo>
                  <a:pt x="154307" y="235540"/>
                </a:lnTo>
                <a:cubicBezTo>
                  <a:pt x="170963" y="235975"/>
                  <a:pt x="187022" y="238221"/>
                  <a:pt x="201404" y="242138"/>
                </a:cubicBezTo>
                <a:cubicBezTo>
                  <a:pt x="198293" y="255794"/>
                  <a:pt x="194534" y="268339"/>
                  <a:pt x="190179" y="279263"/>
                </a:cubicBezTo>
                <a:close/>
                <a:moveTo>
                  <a:pt x="154307" y="224106"/>
                </a:moveTo>
                <a:lnTo>
                  <a:pt x="154307" y="154302"/>
                </a:lnTo>
                <a:lnTo>
                  <a:pt x="211325" y="154302"/>
                </a:lnTo>
                <a:cubicBezTo>
                  <a:pt x="210990" y="180876"/>
                  <a:pt x="208335" y="207135"/>
                  <a:pt x="203760" y="230827"/>
                </a:cubicBezTo>
                <a:cubicBezTo>
                  <a:pt x="188654" y="226777"/>
                  <a:pt x="171867" y="224528"/>
                  <a:pt x="154307" y="224106"/>
                </a:cubicBezTo>
                <a:close/>
                <a:moveTo>
                  <a:pt x="204454" y="273652"/>
                </a:moveTo>
                <a:cubicBezTo>
                  <a:pt x="207415" y="264979"/>
                  <a:pt x="210030" y="255512"/>
                  <a:pt x="212331" y="245519"/>
                </a:cubicBezTo>
                <a:cubicBezTo>
                  <a:pt x="220328" y="248337"/>
                  <a:pt x="227532" y="251739"/>
                  <a:pt x="233914" y="255577"/>
                </a:cubicBezTo>
                <a:cubicBezTo>
                  <a:pt x="224932" y="262774"/>
                  <a:pt x="215038" y="268840"/>
                  <a:pt x="204454" y="273652"/>
                </a:cubicBezTo>
                <a:close/>
                <a:moveTo>
                  <a:pt x="243009" y="247824"/>
                </a:moveTo>
                <a:cubicBezTo>
                  <a:pt x="234807" y="242450"/>
                  <a:pt x="225329" y="237853"/>
                  <a:pt x="214728" y="234213"/>
                </a:cubicBezTo>
                <a:cubicBezTo>
                  <a:pt x="219592" y="209460"/>
                  <a:pt x="222413" y="182011"/>
                  <a:pt x="222756" y="154302"/>
                </a:cubicBezTo>
                <a:lnTo>
                  <a:pt x="285460" y="154302"/>
                </a:lnTo>
                <a:cubicBezTo>
                  <a:pt x="283936" y="191045"/>
                  <a:pt x="267976" y="224058"/>
                  <a:pt x="243009" y="247824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aphic 547">
            <a:extLst>
              <a:ext uri="{FF2B5EF4-FFF2-40B4-BE49-F238E27FC236}">
                <a16:creationId xmlns:a16="http://schemas.microsoft.com/office/drawing/2014/main" id="{48B76D85-3BA5-B836-54A9-5BA846934C64}"/>
              </a:ext>
            </a:extLst>
          </p:cNvPr>
          <p:cNvGrpSpPr/>
          <p:nvPr/>
        </p:nvGrpSpPr>
        <p:grpSpPr>
          <a:xfrm>
            <a:off x="5313912" y="6136807"/>
            <a:ext cx="301544" cy="297194"/>
            <a:chOff x="9274760" y="4290642"/>
            <a:chExt cx="301544" cy="297194"/>
          </a:xfrm>
          <a:solidFill>
            <a:schemeClr val="tx1"/>
          </a:solidFill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D47773BE-2104-408D-90EB-67D459050F67}"/>
                </a:ext>
              </a:extLst>
            </p:cNvPr>
            <p:cNvSpPr/>
            <p:nvPr/>
          </p:nvSpPr>
          <p:spPr>
            <a:xfrm>
              <a:off x="9374392" y="4396835"/>
              <a:ext cx="102281" cy="84815"/>
            </a:xfrm>
            <a:custGeom>
              <a:avLst/>
              <a:gdLst>
                <a:gd name="connsiteX0" fmla="*/ 92445 w 102281"/>
                <a:gd name="connsiteY0" fmla="*/ 1751 h 84815"/>
                <a:gd name="connsiteX1" fmla="*/ 26063 w 102281"/>
                <a:gd name="connsiteY1" fmla="*/ 70789 h 84815"/>
                <a:gd name="connsiteX2" fmla="*/ 9901 w 102281"/>
                <a:gd name="connsiteY2" fmla="*/ 53404 h 84815"/>
                <a:gd name="connsiteX3" fmla="*/ 1823 w 102281"/>
                <a:gd name="connsiteY3" fmla="*/ 53106 h 84815"/>
                <a:gd name="connsiteX4" fmla="*/ 1530 w 102281"/>
                <a:gd name="connsiteY4" fmla="*/ 61180 h 84815"/>
                <a:gd name="connsiteX5" fmla="*/ 21808 w 102281"/>
                <a:gd name="connsiteY5" fmla="*/ 82992 h 84815"/>
                <a:gd name="connsiteX6" fmla="*/ 25994 w 102281"/>
                <a:gd name="connsiteY6" fmla="*/ 84815 h 84815"/>
                <a:gd name="connsiteX7" fmla="*/ 30114 w 102281"/>
                <a:gd name="connsiteY7" fmla="*/ 83066 h 84815"/>
                <a:gd name="connsiteX8" fmla="*/ 100687 w 102281"/>
                <a:gd name="connsiteY8" fmla="*/ 9676 h 84815"/>
                <a:gd name="connsiteX9" fmla="*/ 100529 w 102281"/>
                <a:gd name="connsiteY9" fmla="*/ 1592 h 84815"/>
                <a:gd name="connsiteX10" fmla="*/ 92445 w 102281"/>
                <a:gd name="connsiteY10" fmla="*/ 1751 h 84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2281" h="84815">
                  <a:moveTo>
                    <a:pt x="92445" y="1751"/>
                  </a:moveTo>
                  <a:lnTo>
                    <a:pt x="26063" y="70789"/>
                  </a:lnTo>
                  <a:lnTo>
                    <a:pt x="9901" y="53404"/>
                  </a:lnTo>
                  <a:cubicBezTo>
                    <a:pt x="7748" y="51069"/>
                    <a:pt x="4130" y="50957"/>
                    <a:pt x="1823" y="53106"/>
                  </a:cubicBezTo>
                  <a:cubicBezTo>
                    <a:pt x="-489" y="55254"/>
                    <a:pt x="-619" y="58873"/>
                    <a:pt x="1530" y="61180"/>
                  </a:cubicBezTo>
                  <a:lnTo>
                    <a:pt x="21808" y="82992"/>
                  </a:lnTo>
                  <a:cubicBezTo>
                    <a:pt x="22887" y="84165"/>
                    <a:pt x="24426" y="84667"/>
                    <a:pt x="25994" y="84815"/>
                  </a:cubicBezTo>
                  <a:cubicBezTo>
                    <a:pt x="27546" y="84815"/>
                    <a:pt x="29035" y="84183"/>
                    <a:pt x="30114" y="83066"/>
                  </a:cubicBezTo>
                  <a:lnTo>
                    <a:pt x="100687" y="9676"/>
                  </a:lnTo>
                  <a:cubicBezTo>
                    <a:pt x="102873" y="7397"/>
                    <a:pt x="102802" y="3778"/>
                    <a:pt x="100529" y="1592"/>
                  </a:cubicBezTo>
                  <a:cubicBezTo>
                    <a:pt x="98254" y="-584"/>
                    <a:pt x="94636" y="-528"/>
                    <a:pt x="92445" y="175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8655593D-89D7-774A-BAC2-F3F6A833EFFF}"/>
                </a:ext>
              </a:extLst>
            </p:cNvPr>
            <p:cNvSpPr/>
            <p:nvPr/>
          </p:nvSpPr>
          <p:spPr>
            <a:xfrm>
              <a:off x="9313074" y="4326795"/>
              <a:ext cx="224916" cy="224897"/>
            </a:xfrm>
            <a:custGeom>
              <a:avLst/>
              <a:gdLst>
                <a:gd name="connsiteX0" fmla="*/ 112458 w 224916"/>
                <a:gd name="connsiteY0" fmla="*/ 0 h 224897"/>
                <a:gd name="connsiteX1" fmla="*/ 0 w 224916"/>
                <a:gd name="connsiteY1" fmla="*/ 112449 h 224897"/>
                <a:gd name="connsiteX2" fmla="*/ 112458 w 224916"/>
                <a:gd name="connsiteY2" fmla="*/ 224898 h 224897"/>
                <a:gd name="connsiteX3" fmla="*/ 224916 w 224916"/>
                <a:gd name="connsiteY3" fmla="*/ 112449 h 224897"/>
                <a:gd name="connsiteX4" fmla="*/ 112458 w 224916"/>
                <a:gd name="connsiteY4" fmla="*/ 0 h 224897"/>
                <a:gd name="connsiteX5" fmla="*/ 112458 w 224916"/>
                <a:gd name="connsiteY5" fmla="*/ 213475 h 224897"/>
                <a:gd name="connsiteX6" fmla="*/ 11432 w 224916"/>
                <a:gd name="connsiteY6" fmla="*/ 112449 h 224897"/>
                <a:gd name="connsiteX7" fmla="*/ 112458 w 224916"/>
                <a:gd name="connsiteY7" fmla="*/ 11423 h 224897"/>
                <a:gd name="connsiteX8" fmla="*/ 213484 w 224916"/>
                <a:gd name="connsiteY8" fmla="*/ 112449 h 224897"/>
                <a:gd name="connsiteX9" fmla="*/ 112458 w 224916"/>
                <a:gd name="connsiteY9" fmla="*/ 213475 h 2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916" h="224897">
                  <a:moveTo>
                    <a:pt x="112458" y="0"/>
                  </a:moveTo>
                  <a:cubicBezTo>
                    <a:pt x="50448" y="0"/>
                    <a:pt x="0" y="50443"/>
                    <a:pt x="0" y="112449"/>
                  </a:cubicBezTo>
                  <a:cubicBezTo>
                    <a:pt x="0" y="174454"/>
                    <a:pt x="50448" y="224898"/>
                    <a:pt x="112458" y="224898"/>
                  </a:cubicBezTo>
                  <a:cubicBezTo>
                    <a:pt x="174469" y="224898"/>
                    <a:pt x="224916" y="174454"/>
                    <a:pt x="224916" y="112449"/>
                  </a:cubicBezTo>
                  <a:cubicBezTo>
                    <a:pt x="224916" y="50443"/>
                    <a:pt x="174469" y="0"/>
                    <a:pt x="112458" y="0"/>
                  </a:cubicBezTo>
                  <a:close/>
                  <a:moveTo>
                    <a:pt x="112458" y="213475"/>
                  </a:moveTo>
                  <a:cubicBezTo>
                    <a:pt x="56750" y="213475"/>
                    <a:pt x="11432" y="168157"/>
                    <a:pt x="11432" y="112449"/>
                  </a:cubicBezTo>
                  <a:cubicBezTo>
                    <a:pt x="11432" y="56740"/>
                    <a:pt x="56750" y="11423"/>
                    <a:pt x="112458" y="11423"/>
                  </a:cubicBezTo>
                  <a:cubicBezTo>
                    <a:pt x="168166" y="11423"/>
                    <a:pt x="213484" y="56740"/>
                    <a:pt x="213484" y="112449"/>
                  </a:cubicBezTo>
                  <a:cubicBezTo>
                    <a:pt x="213484" y="168157"/>
                    <a:pt x="168166" y="213475"/>
                    <a:pt x="112458" y="2134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F3BC31-0F69-DA91-A0B8-6CB48B67ADAA}"/>
                </a:ext>
              </a:extLst>
            </p:cNvPr>
            <p:cNvSpPr/>
            <p:nvPr/>
          </p:nvSpPr>
          <p:spPr>
            <a:xfrm>
              <a:off x="9274760" y="4290642"/>
              <a:ext cx="301544" cy="297194"/>
            </a:xfrm>
            <a:custGeom>
              <a:avLst/>
              <a:gdLst>
                <a:gd name="connsiteX0" fmla="*/ 299954 w 301544"/>
                <a:gd name="connsiteY0" fmla="*/ 144648 h 297194"/>
                <a:gd name="connsiteX1" fmla="*/ 281634 w 301544"/>
                <a:gd name="connsiteY1" fmla="*/ 125515 h 297194"/>
                <a:gd name="connsiteX2" fmla="*/ 292340 w 301544"/>
                <a:gd name="connsiteY2" fmla="*/ 101284 h 297194"/>
                <a:gd name="connsiteX3" fmla="*/ 289629 w 301544"/>
                <a:gd name="connsiteY3" fmla="*/ 93843 h 297194"/>
                <a:gd name="connsiteX4" fmla="*/ 265853 w 301544"/>
                <a:gd name="connsiteY4" fmla="*/ 82178 h 297194"/>
                <a:gd name="connsiteX5" fmla="*/ 267597 w 301544"/>
                <a:gd name="connsiteY5" fmla="*/ 55733 h 297194"/>
                <a:gd name="connsiteX6" fmla="*/ 262510 w 301544"/>
                <a:gd name="connsiteY6" fmla="*/ 49678 h 297194"/>
                <a:gd name="connsiteX7" fmla="*/ 236176 w 301544"/>
                <a:gd name="connsiteY7" fmla="*/ 46831 h 297194"/>
                <a:gd name="connsiteX8" fmla="*/ 228814 w 301544"/>
                <a:gd name="connsiteY8" fmla="*/ 21382 h 297194"/>
                <a:gd name="connsiteX9" fmla="*/ 221963 w 301544"/>
                <a:gd name="connsiteY9" fmla="*/ 17419 h 297194"/>
                <a:gd name="connsiteX10" fmla="*/ 196230 w 301544"/>
                <a:gd name="connsiteY10" fmla="*/ 23726 h 297194"/>
                <a:gd name="connsiteX11" fmla="*/ 180570 w 301544"/>
                <a:gd name="connsiteY11" fmla="*/ 2350 h 297194"/>
                <a:gd name="connsiteX12" fmla="*/ 172776 w 301544"/>
                <a:gd name="connsiteY12" fmla="*/ 983 h 297194"/>
                <a:gd name="connsiteX13" fmla="*/ 150772 w 301544"/>
                <a:gd name="connsiteY13" fmla="*/ 15745 h 297194"/>
                <a:gd name="connsiteX14" fmla="*/ 128773 w 301544"/>
                <a:gd name="connsiteY14" fmla="*/ 983 h 297194"/>
                <a:gd name="connsiteX15" fmla="*/ 120979 w 301544"/>
                <a:gd name="connsiteY15" fmla="*/ 2350 h 297194"/>
                <a:gd name="connsiteX16" fmla="*/ 105319 w 301544"/>
                <a:gd name="connsiteY16" fmla="*/ 23726 h 297194"/>
                <a:gd name="connsiteX17" fmla="*/ 79595 w 301544"/>
                <a:gd name="connsiteY17" fmla="*/ 17410 h 297194"/>
                <a:gd name="connsiteX18" fmla="*/ 72744 w 301544"/>
                <a:gd name="connsiteY18" fmla="*/ 21373 h 297194"/>
                <a:gd name="connsiteX19" fmla="*/ 65383 w 301544"/>
                <a:gd name="connsiteY19" fmla="*/ 46822 h 297194"/>
                <a:gd name="connsiteX20" fmla="*/ 39044 w 301544"/>
                <a:gd name="connsiteY20" fmla="*/ 49668 h 297194"/>
                <a:gd name="connsiteX21" fmla="*/ 33956 w 301544"/>
                <a:gd name="connsiteY21" fmla="*/ 55724 h 297194"/>
                <a:gd name="connsiteX22" fmla="*/ 35700 w 301544"/>
                <a:gd name="connsiteY22" fmla="*/ 82160 h 297194"/>
                <a:gd name="connsiteX23" fmla="*/ 11911 w 301544"/>
                <a:gd name="connsiteY23" fmla="*/ 93843 h 297194"/>
                <a:gd name="connsiteX24" fmla="*/ 9204 w 301544"/>
                <a:gd name="connsiteY24" fmla="*/ 101274 h 297194"/>
                <a:gd name="connsiteX25" fmla="*/ 19915 w 301544"/>
                <a:gd name="connsiteY25" fmla="*/ 125515 h 297194"/>
                <a:gd name="connsiteX26" fmla="*/ 1591 w 301544"/>
                <a:gd name="connsiteY26" fmla="*/ 144648 h 297194"/>
                <a:gd name="connsiteX27" fmla="*/ 1591 w 301544"/>
                <a:gd name="connsiteY27" fmla="*/ 152555 h 297194"/>
                <a:gd name="connsiteX28" fmla="*/ 19910 w 301544"/>
                <a:gd name="connsiteY28" fmla="*/ 171689 h 297194"/>
                <a:gd name="connsiteX29" fmla="*/ 9204 w 301544"/>
                <a:gd name="connsiteY29" fmla="*/ 195920 h 297194"/>
                <a:gd name="connsiteX30" fmla="*/ 11916 w 301544"/>
                <a:gd name="connsiteY30" fmla="*/ 203361 h 297194"/>
                <a:gd name="connsiteX31" fmla="*/ 35691 w 301544"/>
                <a:gd name="connsiteY31" fmla="*/ 215026 h 297194"/>
                <a:gd name="connsiteX32" fmla="*/ 33947 w 301544"/>
                <a:gd name="connsiteY32" fmla="*/ 241471 h 297194"/>
                <a:gd name="connsiteX33" fmla="*/ 39035 w 301544"/>
                <a:gd name="connsiteY33" fmla="*/ 247526 h 297194"/>
                <a:gd name="connsiteX34" fmla="*/ 65368 w 301544"/>
                <a:gd name="connsiteY34" fmla="*/ 250372 h 297194"/>
                <a:gd name="connsiteX35" fmla="*/ 72730 w 301544"/>
                <a:gd name="connsiteY35" fmla="*/ 275822 h 297194"/>
                <a:gd name="connsiteX36" fmla="*/ 79581 w 301544"/>
                <a:gd name="connsiteY36" fmla="*/ 279784 h 297194"/>
                <a:gd name="connsiteX37" fmla="*/ 105314 w 301544"/>
                <a:gd name="connsiteY37" fmla="*/ 273478 h 297194"/>
                <a:gd name="connsiteX38" fmla="*/ 120974 w 301544"/>
                <a:gd name="connsiteY38" fmla="*/ 294854 h 297194"/>
                <a:gd name="connsiteX39" fmla="*/ 128769 w 301544"/>
                <a:gd name="connsiteY39" fmla="*/ 296221 h 297194"/>
                <a:gd name="connsiteX40" fmla="*/ 150772 w 301544"/>
                <a:gd name="connsiteY40" fmla="*/ 281459 h 297194"/>
                <a:gd name="connsiteX41" fmla="*/ 172771 w 301544"/>
                <a:gd name="connsiteY41" fmla="*/ 296221 h 297194"/>
                <a:gd name="connsiteX42" fmla="*/ 175953 w 301544"/>
                <a:gd name="connsiteY42" fmla="*/ 297188 h 297194"/>
                <a:gd name="connsiteX43" fmla="*/ 180565 w 301544"/>
                <a:gd name="connsiteY43" fmla="*/ 294854 h 297194"/>
                <a:gd name="connsiteX44" fmla="*/ 196226 w 301544"/>
                <a:gd name="connsiteY44" fmla="*/ 273478 h 297194"/>
                <a:gd name="connsiteX45" fmla="*/ 221950 w 301544"/>
                <a:gd name="connsiteY45" fmla="*/ 279794 h 297194"/>
                <a:gd name="connsiteX46" fmla="*/ 228800 w 301544"/>
                <a:gd name="connsiteY46" fmla="*/ 275831 h 297194"/>
                <a:gd name="connsiteX47" fmla="*/ 236162 w 301544"/>
                <a:gd name="connsiteY47" fmla="*/ 250382 h 297194"/>
                <a:gd name="connsiteX48" fmla="*/ 262500 w 301544"/>
                <a:gd name="connsiteY48" fmla="*/ 247535 h 297194"/>
                <a:gd name="connsiteX49" fmla="*/ 267589 w 301544"/>
                <a:gd name="connsiteY49" fmla="*/ 241480 h 297194"/>
                <a:gd name="connsiteX50" fmla="*/ 265845 w 301544"/>
                <a:gd name="connsiteY50" fmla="*/ 215045 h 297194"/>
                <a:gd name="connsiteX51" fmla="*/ 289633 w 301544"/>
                <a:gd name="connsiteY51" fmla="*/ 203361 h 297194"/>
                <a:gd name="connsiteX52" fmla="*/ 292340 w 301544"/>
                <a:gd name="connsiteY52" fmla="*/ 195929 h 297194"/>
                <a:gd name="connsiteX53" fmla="*/ 281630 w 301544"/>
                <a:gd name="connsiteY53" fmla="*/ 171689 h 297194"/>
                <a:gd name="connsiteX54" fmla="*/ 299954 w 301544"/>
                <a:gd name="connsiteY54" fmla="*/ 152555 h 297194"/>
                <a:gd name="connsiteX55" fmla="*/ 299954 w 301544"/>
                <a:gd name="connsiteY55" fmla="*/ 144648 h 297194"/>
                <a:gd name="connsiteX56" fmla="*/ 270728 w 301544"/>
                <a:gd name="connsiteY56" fmla="*/ 166545 h 297194"/>
                <a:gd name="connsiteX57" fmla="*/ 269625 w 301544"/>
                <a:gd name="connsiteY57" fmla="*/ 172805 h 297194"/>
                <a:gd name="connsiteX58" fmla="*/ 279666 w 301544"/>
                <a:gd name="connsiteY58" fmla="*/ 195529 h 297194"/>
                <a:gd name="connsiteX59" fmla="*/ 257370 w 301544"/>
                <a:gd name="connsiteY59" fmla="*/ 206468 h 297194"/>
                <a:gd name="connsiteX60" fmla="*/ 254189 w 301544"/>
                <a:gd name="connsiteY60" fmla="*/ 211975 h 297194"/>
                <a:gd name="connsiteX61" fmla="*/ 255822 w 301544"/>
                <a:gd name="connsiteY61" fmla="*/ 236764 h 297194"/>
                <a:gd name="connsiteX62" fmla="*/ 231125 w 301544"/>
                <a:gd name="connsiteY62" fmla="*/ 239434 h 297194"/>
                <a:gd name="connsiteX63" fmla="*/ 226251 w 301544"/>
                <a:gd name="connsiteY63" fmla="*/ 243526 h 297194"/>
                <a:gd name="connsiteX64" fmla="*/ 219345 w 301544"/>
                <a:gd name="connsiteY64" fmla="*/ 267386 h 297194"/>
                <a:gd name="connsiteX65" fmla="*/ 195235 w 301544"/>
                <a:gd name="connsiteY65" fmla="*/ 261460 h 297194"/>
                <a:gd name="connsiteX66" fmla="*/ 189263 w 301544"/>
                <a:gd name="connsiteY66" fmla="*/ 263637 h 297194"/>
                <a:gd name="connsiteX67" fmla="*/ 174585 w 301544"/>
                <a:gd name="connsiteY67" fmla="*/ 283672 h 297194"/>
                <a:gd name="connsiteX68" fmla="*/ 153958 w 301544"/>
                <a:gd name="connsiteY68" fmla="*/ 269832 h 297194"/>
                <a:gd name="connsiteX69" fmla="*/ 147586 w 301544"/>
                <a:gd name="connsiteY69" fmla="*/ 269832 h 297194"/>
                <a:gd name="connsiteX70" fmla="*/ 126955 w 301544"/>
                <a:gd name="connsiteY70" fmla="*/ 283672 h 297194"/>
                <a:gd name="connsiteX71" fmla="*/ 112277 w 301544"/>
                <a:gd name="connsiteY71" fmla="*/ 263637 h 297194"/>
                <a:gd name="connsiteX72" fmla="*/ 107668 w 301544"/>
                <a:gd name="connsiteY72" fmla="*/ 261302 h 297194"/>
                <a:gd name="connsiteX73" fmla="*/ 106305 w 301544"/>
                <a:gd name="connsiteY73" fmla="*/ 261460 h 297194"/>
                <a:gd name="connsiteX74" fmla="*/ 82186 w 301544"/>
                <a:gd name="connsiteY74" fmla="*/ 267376 h 297194"/>
                <a:gd name="connsiteX75" fmla="*/ 75279 w 301544"/>
                <a:gd name="connsiteY75" fmla="*/ 243517 h 297194"/>
                <a:gd name="connsiteX76" fmla="*/ 70405 w 301544"/>
                <a:gd name="connsiteY76" fmla="*/ 239424 h 297194"/>
                <a:gd name="connsiteX77" fmla="*/ 45713 w 301544"/>
                <a:gd name="connsiteY77" fmla="*/ 236755 h 297194"/>
                <a:gd name="connsiteX78" fmla="*/ 47346 w 301544"/>
                <a:gd name="connsiteY78" fmla="*/ 211956 h 297194"/>
                <a:gd name="connsiteX79" fmla="*/ 44160 w 301544"/>
                <a:gd name="connsiteY79" fmla="*/ 206449 h 297194"/>
                <a:gd name="connsiteX80" fmla="*/ 21878 w 301544"/>
                <a:gd name="connsiteY80" fmla="*/ 195520 h 297194"/>
                <a:gd name="connsiteX81" fmla="*/ 31914 w 301544"/>
                <a:gd name="connsiteY81" fmla="*/ 172805 h 297194"/>
                <a:gd name="connsiteX82" fmla="*/ 30812 w 301544"/>
                <a:gd name="connsiteY82" fmla="*/ 166545 h 297194"/>
                <a:gd name="connsiteX83" fmla="*/ 13632 w 301544"/>
                <a:gd name="connsiteY83" fmla="*/ 148602 h 297194"/>
                <a:gd name="connsiteX84" fmla="*/ 30817 w 301544"/>
                <a:gd name="connsiteY84" fmla="*/ 130659 h 297194"/>
                <a:gd name="connsiteX85" fmla="*/ 31919 w 301544"/>
                <a:gd name="connsiteY85" fmla="*/ 124399 h 297194"/>
                <a:gd name="connsiteX86" fmla="*/ 21878 w 301544"/>
                <a:gd name="connsiteY86" fmla="*/ 101674 h 297194"/>
                <a:gd name="connsiteX87" fmla="*/ 44174 w 301544"/>
                <a:gd name="connsiteY87" fmla="*/ 90736 h 297194"/>
                <a:gd name="connsiteX88" fmla="*/ 47355 w 301544"/>
                <a:gd name="connsiteY88" fmla="*/ 85229 h 297194"/>
                <a:gd name="connsiteX89" fmla="*/ 45723 w 301544"/>
                <a:gd name="connsiteY89" fmla="*/ 60440 h 297194"/>
                <a:gd name="connsiteX90" fmla="*/ 70419 w 301544"/>
                <a:gd name="connsiteY90" fmla="*/ 57770 h 297194"/>
                <a:gd name="connsiteX91" fmla="*/ 75293 w 301544"/>
                <a:gd name="connsiteY91" fmla="*/ 53678 h 297194"/>
                <a:gd name="connsiteX92" fmla="*/ 82200 w 301544"/>
                <a:gd name="connsiteY92" fmla="*/ 29819 h 297194"/>
                <a:gd name="connsiteX93" fmla="*/ 106310 w 301544"/>
                <a:gd name="connsiteY93" fmla="*/ 35744 h 297194"/>
                <a:gd name="connsiteX94" fmla="*/ 112282 w 301544"/>
                <a:gd name="connsiteY94" fmla="*/ 33567 h 297194"/>
                <a:gd name="connsiteX95" fmla="*/ 126960 w 301544"/>
                <a:gd name="connsiteY95" fmla="*/ 13531 h 297194"/>
                <a:gd name="connsiteX96" fmla="*/ 147586 w 301544"/>
                <a:gd name="connsiteY96" fmla="*/ 27372 h 297194"/>
                <a:gd name="connsiteX97" fmla="*/ 153958 w 301544"/>
                <a:gd name="connsiteY97" fmla="*/ 27372 h 297194"/>
                <a:gd name="connsiteX98" fmla="*/ 174589 w 301544"/>
                <a:gd name="connsiteY98" fmla="*/ 13531 h 297194"/>
                <a:gd name="connsiteX99" fmla="*/ 189268 w 301544"/>
                <a:gd name="connsiteY99" fmla="*/ 33567 h 297194"/>
                <a:gd name="connsiteX100" fmla="*/ 195240 w 301544"/>
                <a:gd name="connsiteY100" fmla="*/ 35744 h 297194"/>
                <a:gd name="connsiteX101" fmla="*/ 219359 w 301544"/>
                <a:gd name="connsiteY101" fmla="*/ 29828 h 297194"/>
                <a:gd name="connsiteX102" fmla="*/ 226265 w 301544"/>
                <a:gd name="connsiteY102" fmla="*/ 53686 h 297194"/>
                <a:gd name="connsiteX103" fmla="*/ 231139 w 301544"/>
                <a:gd name="connsiteY103" fmla="*/ 57779 h 297194"/>
                <a:gd name="connsiteX104" fmla="*/ 255831 w 301544"/>
                <a:gd name="connsiteY104" fmla="*/ 60449 h 297194"/>
                <a:gd name="connsiteX105" fmla="*/ 254198 w 301544"/>
                <a:gd name="connsiteY105" fmla="*/ 85248 h 297194"/>
                <a:gd name="connsiteX106" fmla="*/ 257385 w 301544"/>
                <a:gd name="connsiteY106" fmla="*/ 90754 h 297194"/>
                <a:gd name="connsiteX107" fmla="*/ 279666 w 301544"/>
                <a:gd name="connsiteY107" fmla="*/ 101684 h 297194"/>
                <a:gd name="connsiteX108" fmla="*/ 269630 w 301544"/>
                <a:gd name="connsiteY108" fmla="*/ 124399 h 297194"/>
                <a:gd name="connsiteX109" fmla="*/ 270732 w 301544"/>
                <a:gd name="connsiteY109" fmla="*/ 130659 h 297194"/>
                <a:gd name="connsiteX110" fmla="*/ 287912 w 301544"/>
                <a:gd name="connsiteY110" fmla="*/ 148602 h 297194"/>
                <a:gd name="connsiteX111" fmla="*/ 270728 w 301544"/>
                <a:gd name="connsiteY111" fmla="*/ 166545 h 297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301544" h="297194">
                  <a:moveTo>
                    <a:pt x="299954" y="144648"/>
                  </a:moveTo>
                  <a:lnTo>
                    <a:pt x="281634" y="125515"/>
                  </a:lnTo>
                  <a:lnTo>
                    <a:pt x="292340" y="101284"/>
                  </a:lnTo>
                  <a:cubicBezTo>
                    <a:pt x="293582" y="98484"/>
                    <a:pt x="292382" y="95200"/>
                    <a:pt x="289629" y="93843"/>
                  </a:cubicBezTo>
                  <a:lnTo>
                    <a:pt x="265853" y="82178"/>
                  </a:lnTo>
                  <a:lnTo>
                    <a:pt x="267597" y="55733"/>
                  </a:lnTo>
                  <a:cubicBezTo>
                    <a:pt x="267797" y="52682"/>
                    <a:pt x="265556" y="50013"/>
                    <a:pt x="262510" y="49678"/>
                  </a:cubicBezTo>
                  <a:lnTo>
                    <a:pt x="236176" y="46831"/>
                  </a:lnTo>
                  <a:lnTo>
                    <a:pt x="228814" y="21382"/>
                  </a:lnTo>
                  <a:cubicBezTo>
                    <a:pt x="227963" y="18433"/>
                    <a:pt x="224968" y="16684"/>
                    <a:pt x="221963" y="17419"/>
                  </a:cubicBezTo>
                  <a:lnTo>
                    <a:pt x="196230" y="23726"/>
                  </a:lnTo>
                  <a:lnTo>
                    <a:pt x="180570" y="2350"/>
                  </a:lnTo>
                  <a:cubicBezTo>
                    <a:pt x="178752" y="-133"/>
                    <a:pt x="175315" y="-747"/>
                    <a:pt x="172776" y="983"/>
                  </a:cubicBezTo>
                  <a:lnTo>
                    <a:pt x="150772" y="15745"/>
                  </a:lnTo>
                  <a:lnTo>
                    <a:pt x="128773" y="983"/>
                  </a:lnTo>
                  <a:cubicBezTo>
                    <a:pt x="126225" y="-738"/>
                    <a:pt x="122783" y="-124"/>
                    <a:pt x="120979" y="2350"/>
                  </a:cubicBezTo>
                  <a:lnTo>
                    <a:pt x="105319" y="23726"/>
                  </a:lnTo>
                  <a:lnTo>
                    <a:pt x="79595" y="17410"/>
                  </a:lnTo>
                  <a:cubicBezTo>
                    <a:pt x="76632" y="16684"/>
                    <a:pt x="73600" y="18433"/>
                    <a:pt x="72744" y="21373"/>
                  </a:cubicBezTo>
                  <a:lnTo>
                    <a:pt x="65383" y="46822"/>
                  </a:lnTo>
                  <a:lnTo>
                    <a:pt x="39044" y="49668"/>
                  </a:lnTo>
                  <a:cubicBezTo>
                    <a:pt x="35998" y="50003"/>
                    <a:pt x="33756" y="52673"/>
                    <a:pt x="33956" y="55724"/>
                  </a:cubicBezTo>
                  <a:lnTo>
                    <a:pt x="35700" y="82160"/>
                  </a:lnTo>
                  <a:lnTo>
                    <a:pt x="11911" y="93843"/>
                  </a:lnTo>
                  <a:cubicBezTo>
                    <a:pt x="9162" y="95192"/>
                    <a:pt x="7967" y="98475"/>
                    <a:pt x="9204" y="101274"/>
                  </a:cubicBezTo>
                  <a:lnTo>
                    <a:pt x="19915" y="125515"/>
                  </a:lnTo>
                  <a:lnTo>
                    <a:pt x="1591" y="144648"/>
                  </a:lnTo>
                  <a:cubicBezTo>
                    <a:pt x="-530" y="146863"/>
                    <a:pt x="-530" y="150341"/>
                    <a:pt x="1591" y="152555"/>
                  </a:cubicBezTo>
                  <a:lnTo>
                    <a:pt x="19910" y="171689"/>
                  </a:lnTo>
                  <a:lnTo>
                    <a:pt x="9204" y="195920"/>
                  </a:lnTo>
                  <a:cubicBezTo>
                    <a:pt x="7962" y="198720"/>
                    <a:pt x="9162" y="202003"/>
                    <a:pt x="11916" y="203361"/>
                  </a:cubicBezTo>
                  <a:lnTo>
                    <a:pt x="35691" y="215026"/>
                  </a:lnTo>
                  <a:lnTo>
                    <a:pt x="33947" y="241471"/>
                  </a:lnTo>
                  <a:cubicBezTo>
                    <a:pt x="33747" y="244522"/>
                    <a:pt x="35989" y="247192"/>
                    <a:pt x="39035" y="247526"/>
                  </a:cubicBezTo>
                  <a:lnTo>
                    <a:pt x="65368" y="250372"/>
                  </a:lnTo>
                  <a:lnTo>
                    <a:pt x="72730" y="275822"/>
                  </a:lnTo>
                  <a:cubicBezTo>
                    <a:pt x="73582" y="278761"/>
                    <a:pt x="76572" y="280501"/>
                    <a:pt x="79581" y="279784"/>
                  </a:cubicBezTo>
                  <a:lnTo>
                    <a:pt x="105314" y="273478"/>
                  </a:lnTo>
                  <a:lnTo>
                    <a:pt x="120974" y="294854"/>
                  </a:lnTo>
                  <a:cubicBezTo>
                    <a:pt x="122783" y="297319"/>
                    <a:pt x="126216" y="297942"/>
                    <a:pt x="128769" y="296221"/>
                  </a:cubicBezTo>
                  <a:lnTo>
                    <a:pt x="150772" y="281459"/>
                  </a:lnTo>
                  <a:lnTo>
                    <a:pt x="172771" y="296221"/>
                  </a:lnTo>
                  <a:cubicBezTo>
                    <a:pt x="173747" y="296882"/>
                    <a:pt x="174854" y="297188"/>
                    <a:pt x="175953" y="297188"/>
                  </a:cubicBezTo>
                  <a:cubicBezTo>
                    <a:pt x="177715" y="297188"/>
                    <a:pt x="179449" y="296379"/>
                    <a:pt x="180565" y="294854"/>
                  </a:cubicBezTo>
                  <a:lnTo>
                    <a:pt x="196226" y="273478"/>
                  </a:lnTo>
                  <a:lnTo>
                    <a:pt x="221950" y="279794"/>
                  </a:lnTo>
                  <a:cubicBezTo>
                    <a:pt x="224907" y="280529"/>
                    <a:pt x="227953" y="278780"/>
                    <a:pt x="228800" y="275831"/>
                  </a:cubicBezTo>
                  <a:lnTo>
                    <a:pt x="236162" y="250382"/>
                  </a:lnTo>
                  <a:lnTo>
                    <a:pt x="262500" y="247535"/>
                  </a:lnTo>
                  <a:cubicBezTo>
                    <a:pt x="265547" y="247200"/>
                    <a:pt x="267789" y="244531"/>
                    <a:pt x="267589" y="241480"/>
                  </a:cubicBezTo>
                  <a:lnTo>
                    <a:pt x="265845" y="215045"/>
                  </a:lnTo>
                  <a:lnTo>
                    <a:pt x="289633" y="203361"/>
                  </a:lnTo>
                  <a:cubicBezTo>
                    <a:pt x="292382" y="202013"/>
                    <a:pt x="293578" y="198729"/>
                    <a:pt x="292340" y="195929"/>
                  </a:cubicBezTo>
                  <a:lnTo>
                    <a:pt x="281630" y="171689"/>
                  </a:lnTo>
                  <a:lnTo>
                    <a:pt x="299954" y="152555"/>
                  </a:lnTo>
                  <a:cubicBezTo>
                    <a:pt x="302075" y="150341"/>
                    <a:pt x="302075" y="146863"/>
                    <a:pt x="299954" y="144648"/>
                  </a:cubicBezTo>
                  <a:close/>
                  <a:moveTo>
                    <a:pt x="270728" y="166545"/>
                  </a:moveTo>
                  <a:cubicBezTo>
                    <a:pt x="269123" y="168219"/>
                    <a:pt x="268691" y="170693"/>
                    <a:pt x="269625" y="172805"/>
                  </a:cubicBezTo>
                  <a:lnTo>
                    <a:pt x="279666" y="195529"/>
                  </a:lnTo>
                  <a:lnTo>
                    <a:pt x="257370" y="206468"/>
                  </a:lnTo>
                  <a:cubicBezTo>
                    <a:pt x="255291" y="207491"/>
                    <a:pt x="254036" y="209668"/>
                    <a:pt x="254189" y="211975"/>
                  </a:cubicBezTo>
                  <a:lnTo>
                    <a:pt x="255822" y="236764"/>
                  </a:lnTo>
                  <a:lnTo>
                    <a:pt x="231125" y="239434"/>
                  </a:lnTo>
                  <a:cubicBezTo>
                    <a:pt x="228818" y="239685"/>
                    <a:pt x="226893" y="241303"/>
                    <a:pt x="226251" y="243526"/>
                  </a:cubicBezTo>
                  <a:lnTo>
                    <a:pt x="219345" y="267386"/>
                  </a:lnTo>
                  <a:lnTo>
                    <a:pt x="195235" y="261460"/>
                  </a:lnTo>
                  <a:cubicBezTo>
                    <a:pt x="192975" y="260892"/>
                    <a:pt x="190621" y="261776"/>
                    <a:pt x="189263" y="263637"/>
                  </a:cubicBezTo>
                  <a:lnTo>
                    <a:pt x="174585" y="283672"/>
                  </a:lnTo>
                  <a:lnTo>
                    <a:pt x="153958" y="269832"/>
                  </a:lnTo>
                  <a:cubicBezTo>
                    <a:pt x="152032" y="268530"/>
                    <a:pt x="149512" y="268530"/>
                    <a:pt x="147586" y="269832"/>
                  </a:cubicBezTo>
                  <a:lnTo>
                    <a:pt x="126955" y="283672"/>
                  </a:lnTo>
                  <a:lnTo>
                    <a:pt x="112277" y="263637"/>
                  </a:lnTo>
                  <a:cubicBezTo>
                    <a:pt x="111188" y="262149"/>
                    <a:pt x="109463" y="261302"/>
                    <a:pt x="107668" y="261302"/>
                  </a:cubicBezTo>
                  <a:cubicBezTo>
                    <a:pt x="107216" y="261302"/>
                    <a:pt x="106761" y="261349"/>
                    <a:pt x="106305" y="261460"/>
                  </a:cubicBezTo>
                  <a:lnTo>
                    <a:pt x="82186" y="267376"/>
                  </a:lnTo>
                  <a:lnTo>
                    <a:pt x="75279" y="243517"/>
                  </a:lnTo>
                  <a:cubicBezTo>
                    <a:pt x="74637" y="241294"/>
                    <a:pt x="72712" y="239675"/>
                    <a:pt x="70405" y="239424"/>
                  </a:cubicBezTo>
                  <a:lnTo>
                    <a:pt x="45713" y="236755"/>
                  </a:lnTo>
                  <a:lnTo>
                    <a:pt x="47346" y="211956"/>
                  </a:lnTo>
                  <a:cubicBezTo>
                    <a:pt x="47499" y="209650"/>
                    <a:pt x="46244" y="207472"/>
                    <a:pt x="44160" y="206449"/>
                  </a:cubicBezTo>
                  <a:lnTo>
                    <a:pt x="21878" y="195520"/>
                  </a:lnTo>
                  <a:lnTo>
                    <a:pt x="31914" y="172805"/>
                  </a:lnTo>
                  <a:cubicBezTo>
                    <a:pt x="32849" y="170693"/>
                    <a:pt x="32417" y="168219"/>
                    <a:pt x="30812" y="166545"/>
                  </a:cubicBezTo>
                  <a:lnTo>
                    <a:pt x="13632" y="148602"/>
                  </a:lnTo>
                  <a:lnTo>
                    <a:pt x="30817" y="130659"/>
                  </a:lnTo>
                  <a:cubicBezTo>
                    <a:pt x="32421" y="128984"/>
                    <a:pt x="32854" y="126510"/>
                    <a:pt x="31919" y="124399"/>
                  </a:cubicBezTo>
                  <a:lnTo>
                    <a:pt x="21878" y="101674"/>
                  </a:lnTo>
                  <a:lnTo>
                    <a:pt x="44174" y="90736"/>
                  </a:lnTo>
                  <a:cubicBezTo>
                    <a:pt x="46253" y="89713"/>
                    <a:pt x="47509" y="87535"/>
                    <a:pt x="47355" y="85229"/>
                  </a:cubicBezTo>
                  <a:lnTo>
                    <a:pt x="45723" y="60440"/>
                  </a:lnTo>
                  <a:lnTo>
                    <a:pt x="70419" y="57770"/>
                  </a:lnTo>
                  <a:cubicBezTo>
                    <a:pt x="72726" y="57519"/>
                    <a:pt x="74651" y="55901"/>
                    <a:pt x="75293" y="53678"/>
                  </a:cubicBezTo>
                  <a:lnTo>
                    <a:pt x="82200" y="29819"/>
                  </a:lnTo>
                  <a:lnTo>
                    <a:pt x="106310" y="35744"/>
                  </a:lnTo>
                  <a:cubicBezTo>
                    <a:pt x="108537" y="36283"/>
                    <a:pt x="110914" y="35427"/>
                    <a:pt x="112282" y="33567"/>
                  </a:cubicBezTo>
                  <a:lnTo>
                    <a:pt x="126960" y="13531"/>
                  </a:lnTo>
                  <a:lnTo>
                    <a:pt x="147586" y="27372"/>
                  </a:lnTo>
                  <a:cubicBezTo>
                    <a:pt x="149512" y="28674"/>
                    <a:pt x="152032" y="28674"/>
                    <a:pt x="153958" y="27372"/>
                  </a:cubicBezTo>
                  <a:lnTo>
                    <a:pt x="174589" y="13531"/>
                  </a:lnTo>
                  <a:lnTo>
                    <a:pt x="189268" y="33567"/>
                  </a:lnTo>
                  <a:cubicBezTo>
                    <a:pt x="190626" y="35427"/>
                    <a:pt x="192956" y="36283"/>
                    <a:pt x="195240" y="35744"/>
                  </a:cubicBezTo>
                  <a:lnTo>
                    <a:pt x="219359" y="29828"/>
                  </a:lnTo>
                  <a:lnTo>
                    <a:pt x="226265" y="53686"/>
                  </a:lnTo>
                  <a:cubicBezTo>
                    <a:pt x="226907" y="55910"/>
                    <a:pt x="228832" y="57529"/>
                    <a:pt x="231139" y="57779"/>
                  </a:cubicBezTo>
                  <a:lnTo>
                    <a:pt x="255831" y="60449"/>
                  </a:lnTo>
                  <a:lnTo>
                    <a:pt x="254198" y="85248"/>
                  </a:lnTo>
                  <a:cubicBezTo>
                    <a:pt x="254045" y="87555"/>
                    <a:pt x="255301" y="89731"/>
                    <a:pt x="257385" y="90754"/>
                  </a:cubicBezTo>
                  <a:lnTo>
                    <a:pt x="279666" y="101684"/>
                  </a:lnTo>
                  <a:lnTo>
                    <a:pt x="269630" y="124399"/>
                  </a:lnTo>
                  <a:cubicBezTo>
                    <a:pt x="268696" y="126510"/>
                    <a:pt x="269128" y="128984"/>
                    <a:pt x="270732" y="130659"/>
                  </a:cubicBezTo>
                  <a:lnTo>
                    <a:pt x="287912" y="148602"/>
                  </a:lnTo>
                  <a:lnTo>
                    <a:pt x="270728" y="1665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9" name="Graphic 402">
            <a:extLst>
              <a:ext uri="{FF2B5EF4-FFF2-40B4-BE49-F238E27FC236}">
                <a16:creationId xmlns:a16="http://schemas.microsoft.com/office/drawing/2014/main" id="{95A2FE3D-4186-148A-C792-BE0E21F8E1F9}"/>
              </a:ext>
            </a:extLst>
          </p:cNvPr>
          <p:cNvGrpSpPr/>
          <p:nvPr/>
        </p:nvGrpSpPr>
        <p:grpSpPr>
          <a:xfrm>
            <a:off x="7451041" y="6108239"/>
            <a:ext cx="266271" cy="354331"/>
            <a:chOff x="3518939" y="4405011"/>
            <a:chExt cx="266271" cy="354331"/>
          </a:xfrm>
          <a:solidFill>
            <a:schemeClr val="tx1"/>
          </a:solidFill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75AF887-C8AD-EF27-5B44-B00BC2FFDCD1}"/>
                </a:ext>
              </a:extLst>
            </p:cNvPr>
            <p:cNvSpPr/>
            <p:nvPr/>
          </p:nvSpPr>
          <p:spPr>
            <a:xfrm>
              <a:off x="3518939" y="4405011"/>
              <a:ext cx="266271" cy="354331"/>
            </a:xfrm>
            <a:custGeom>
              <a:avLst/>
              <a:gdLst>
                <a:gd name="connsiteX0" fmla="*/ 257379 w 266271"/>
                <a:gd name="connsiteY0" fmla="*/ 153865 h 354331"/>
                <a:gd name="connsiteX1" fmla="*/ 266272 w 266271"/>
                <a:gd name="connsiteY1" fmla="*/ 133136 h 354331"/>
                <a:gd name="connsiteX2" fmla="*/ 257379 w 266271"/>
                <a:gd name="connsiteY2" fmla="*/ 112412 h 354331"/>
                <a:gd name="connsiteX3" fmla="*/ 251194 w 266271"/>
                <a:gd name="connsiteY3" fmla="*/ 101501 h 354331"/>
                <a:gd name="connsiteX4" fmla="*/ 251036 w 266271"/>
                <a:gd name="connsiteY4" fmla="*/ 88422 h 354331"/>
                <a:gd name="connsiteX5" fmla="*/ 248450 w 266271"/>
                <a:gd name="connsiteY5" fmla="*/ 66554 h 354331"/>
                <a:gd name="connsiteX6" fmla="*/ 230614 w 266271"/>
                <a:gd name="connsiteY6" fmla="*/ 53271 h 354331"/>
                <a:gd name="connsiteX7" fmla="*/ 219545 w 266271"/>
                <a:gd name="connsiteY7" fmla="*/ 46737 h 354331"/>
                <a:gd name="connsiteX8" fmla="*/ 213010 w 266271"/>
                <a:gd name="connsiteY8" fmla="*/ 35663 h 354331"/>
                <a:gd name="connsiteX9" fmla="*/ 199727 w 266271"/>
                <a:gd name="connsiteY9" fmla="*/ 17827 h 354331"/>
                <a:gd name="connsiteX10" fmla="*/ 177859 w 266271"/>
                <a:gd name="connsiteY10" fmla="*/ 15241 h 354331"/>
                <a:gd name="connsiteX11" fmla="*/ 164771 w 266271"/>
                <a:gd name="connsiteY11" fmla="*/ 15078 h 354331"/>
                <a:gd name="connsiteX12" fmla="*/ 153870 w 266271"/>
                <a:gd name="connsiteY12" fmla="*/ 8897 h 354331"/>
                <a:gd name="connsiteX13" fmla="*/ 133136 w 266271"/>
                <a:gd name="connsiteY13" fmla="*/ 0 h 354331"/>
                <a:gd name="connsiteX14" fmla="*/ 112402 w 266271"/>
                <a:gd name="connsiteY14" fmla="*/ 8897 h 354331"/>
                <a:gd name="connsiteX15" fmla="*/ 101501 w 266271"/>
                <a:gd name="connsiteY15" fmla="*/ 15078 h 354331"/>
                <a:gd name="connsiteX16" fmla="*/ 88418 w 266271"/>
                <a:gd name="connsiteY16" fmla="*/ 15241 h 354331"/>
                <a:gd name="connsiteX17" fmla="*/ 66554 w 266271"/>
                <a:gd name="connsiteY17" fmla="*/ 17822 h 354331"/>
                <a:gd name="connsiteX18" fmla="*/ 53271 w 266271"/>
                <a:gd name="connsiteY18" fmla="*/ 35654 h 354331"/>
                <a:gd name="connsiteX19" fmla="*/ 46732 w 266271"/>
                <a:gd name="connsiteY19" fmla="*/ 46727 h 354331"/>
                <a:gd name="connsiteX20" fmla="*/ 35658 w 266271"/>
                <a:gd name="connsiteY20" fmla="*/ 53267 h 354331"/>
                <a:gd name="connsiteX21" fmla="*/ 17822 w 266271"/>
                <a:gd name="connsiteY21" fmla="*/ 66549 h 354331"/>
                <a:gd name="connsiteX22" fmla="*/ 15241 w 266271"/>
                <a:gd name="connsiteY22" fmla="*/ 88418 h 354331"/>
                <a:gd name="connsiteX23" fmla="*/ 15078 w 266271"/>
                <a:gd name="connsiteY23" fmla="*/ 101501 h 354331"/>
                <a:gd name="connsiteX24" fmla="*/ 8892 w 266271"/>
                <a:gd name="connsiteY24" fmla="*/ 112412 h 354331"/>
                <a:gd name="connsiteX25" fmla="*/ 0 w 266271"/>
                <a:gd name="connsiteY25" fmla="*/ 133136 h 354331"/>
                <a:gd name="connsiteX26" fmla="*/ 8897 w 266271"/>
                <a:gd name="connsiteY26" fmla="*/ 153870 h 354331"/>
                <a:gd name="connsiteX27" fmla="*/ 15078 w 266271"/>
                <a:gd name="connsiteY27" fmla="*/ 164771 h 354331"/>
                <a:gd name="connsiteX28" fmla="*/ 15236 w 266271"/>
                <a:gd name="connsiteY28" fmla="*/ 177850 h 354331"/>
                <a:gd name="connsiteX29" fmla="*/ 17822 w 266271"/>
                <a:gd name="connsiteY29" fmla="*/ 199723 h 354331"/>
                <a:gd name="connsiteX30" fmla="*/ 35658 w 266271"/>
                <a:gd name="connsiteY30" fmla="*/ 213006 h 354331"/>
                <a:gd name="connsiteX31" fmla="*/ 46727 w 266271"/>
                <a:gd name="connsiteY31" fmla="*/ 219540 h 354331"/>
                <a:gd name="connsiteX32" fmla="*/ 51799 w 266271"/>
                <a:gd name="connsiteY32" fmla="*/ 227525 h 354331"/>
                <a:gd name="connsiteX33" fmla="*/ 34593 w 266271"/>
                <a:gd name="connsiteY33" fmla="*/ 336519 h 354331"/>
                <a:gd name="connsiteX34" fmla="*/ 36998 w 266271"/>
                <a:gd name="connsiteY34" fmla="*/ 342119 h 354331"/>
                <a:gd name="connsiteX35" fmla="*/ 43086 w 266271"/>
                <a:gd name="connsiteY35" fmla="*/ 342366 h 354331"/>
                <a:gd name="connsiteX36" fmla="*/ 79098 w 266271"/>
                <a:gd name="connsiteY36" fmla="*/ 321669 h 354331"/>
                <a:gd name="connsiteX37" fmla="*/ 106975 w 266271"/>
                <a:gd name="connsiteY37" fmla="*/ 352453 h 354331"/>
                <a:gd name="connsiteX38" fmla="*/ 111211 w 266271"/>
                <a:gd name="connsiteY38" fmla="*/ 354332 h 354331"/>
                <a:gd name="connsiteX39" fmla="*/ 112844 w 266271"/>
                <a:gd name="connsiteY39" fmla="*/ 354095 h 354331"/>
                <a:gd name="connsiteX40" fmla="*/ 116858 w 266271"/>
                <a:gd name="connsiteY40" fmla="*/ 349509 h 354331"/>
                <a:gd name="connsiteX41" fmla="*/ 130067 w 266271"/>
                <a:gd name="connsiteY41" fmla="*/ 265850 h 354331"/>
                <a:gd name="connsiteX42" fmla="*/ 133136 w 266271"/>
                <a:gd name="connsiteY42" fmla="*/ 266277 h 354331"/>
                <a:gd name="connsiteX43" fmla="*/ 136206 w 266271"/>
                <a:gd name="connsiteY43" fmla="*/ 265850 h 354331"/>
                <a:gd name="connsiteX44" fmla="*/ 149414 w 266271"/>
                <a:gd name="connsiteY44" fmla="*/ 349509 h 354331"/>
                <a:gd name="connsiteX45" fmla="*/ 153428 w 266271"/>
                <a:gd name="connsiteY45" fmla="*/ 354095 h 354331"/>
                <a:gd name="connsiteX46" fmla="*/ 155061 w 266271"/>
                <a:gd name="connsiteY46" fmla="*/ 354332 h 354331"/>
                <a:gd name="connsiteX47" fmla="*/ 159297 w 266271"/>
                <a:gd name="connsiteY47" fmla="*/ 352453 h 354331"/>
                <a:gd name="connsiteX48" fmla="*/ 187174 w 266271"/>
                <a:gd name="connsiteY48" fmla="*/ 321669 h 354331"/>
                <a:gd name="connsiteX49" fmla="*/ 223186 w 266271"/>
                <a:gd name="connsiteY49" fmla="*/ 342366 h 354331"/>
                <a:gd name="connsiteX50" fmla="*/ 229275 w 266271"/>
                <a:gd name="connsiteY50" fmla="*/ 342119 h 354331"/>
                <a:gd name="connsiteX51" fmla="*/ 231679 w 266271"/>
                <a:gd name="connsiteY51" fmla="*/ 336519 h 354331"/>
                <a:gd name="connsiteX52" fmla="*/ 214473 w 266271"/>
                <a:gd name="connsiteY52" fmla="*/ 227521 h 354331"/>
                <a:gd name="connsiteX53" fmla="*/ 219540 w 266271"/>
                <a:gd name="connsiteY53" fmla="*/ 219545 h 354331"/>
                <a:gd name="connsiteX54" fmla="*/ 230614 w 266271"/>
                <a:gd name="connsiteY54" fmla="*/ 213010 h 354331"/>
                <a:gd name="connsiteX55" fmla="*/ 248450 w 266271"/>
                <a:gd name="connsiteY55" fmla="*/ 199728 h 354331"/>
                <a:gd name="connsiteX56" fmla="*/ 251031 w 266271"/>
                <a:gd name="connsiteY56" fmla="*/ 177859 h 354331"/>
                <a:gd name="connsiteX57" fmla="*/ 251194 w 266271"/>
                <a:gd name="connsiteY57" fmla="*/ 164776 h 354331"/>
                <a:gd name="connsiteX58" fmla="*/ 257379 w 266271"/>
                <a:gd name="connsiteY58" fmla="*/ 153865 h 354331"/>
                <a:gd name="connsiteX59" fmla="*/ 107431 w 266271"/>
                <a:gd name="connsiteY59" fmla="*/ 335924 h 354331"/>
                <a:gd name="connsiteX60" fmla="*/ 84479 w 266271"/>
                <a:gd name="connsiteY60" fmla="*/ 310581 h 354331"/>
                <a:gd name="connsiteX61" fmla="*/ 77395 w 266271"/>
                <a:gd name="connsiteY61" fmla="*/ 309464 h 354331"/>
                <a:gd name="connsiteX62" fmla="*/ 47746 w 266271"/>
                <a:gd name="connsiteY62" fmla="*/ 326506 h 354331"/>
                <a:gd name="connsiteX63" fmla="*/ 60859 w 266271"/>
                <a:gd name="connsiteY63" fmla="*/ 243451 h 354331"/>
                <a:gd name="connsiteX64" fmla="*/ 66545 w 266271"/>
                <a:gd name="connsiteY64" fmla="*/ 248450 h 354331"/>
                <a:gd name="connsiteX65" fmla="*/ 88413 w 266271"/>
                <a:gd name="connsiteY65" fmla="*/ 251036 h 354331"/>
                <a:gd name="connsiteX66" fmla="*/ 101501 w 266271"/>
                <a:gd name="connsiteY66" fmla="*/ 251199 h 354331"/>
                <a:gd name="connsiteX67" fmla="*/ 112402 w 266271"/>
                <a:gd name="connsiteY67" fmla="*/ 257380 h 354331"/>
                <a:gd name="connsiteX68" fmla="*/ 119140 w 266271"/>
                <a:gd name="connsiteY68" fmla="*/ 261748 h 354331"/>
                <a:gd name="connsiteX69" fmla="*/ 107431 w 266271"/>
                <a:gd name="connsiteY69" fmla="*/ 335924 h 354331"/>
                <a:gd name="connsiteX70" fmla="*/ 188877 w 266271"/>
                <a:gd name="connsiteY70" fmla="*/ 309464 h 354331"/>
                <a:gd name="connsiteX71" fmla="*/ 181794 w 266271"/>
                <a:gd name="connsiteY71" fmla="*/ 310581 h 354331"/>
                <a:gd name="connsiteX72" fmla="*/ 158841 w 266271"/>
                <a:gd name="connsiteY72" fmla="*/ 335924 h 354331"/>
                <a:gd name="connsiteX73" fmla="*/ 147132 w 266271"/>
                <a:gd name="connsiteY73" fmla="*/ 261747 h 354331"/>
                <a:gd name="connsiteX74" fmla="*/ 153870 w 266271"/>
                <a:gd name="connsiteY74" fmla="*/ 257380 h 354331"/>
                <a:gd name="connsiteX75" fmla="*/ 164771 w 266271"/>
                <a:gd name="connsiteY75" fmla="*/ 251199 h 354331"/>
                <a:gd name="connsiteX76" fmla="*/ 177854 w 266271"/>
                <a:gd name="connsiteY76" fmla="*/ 251036 h 354331"/>
                <a:gd name="connsiteX77" fmla="*/ 199718 w 266271"/>
                <a:gd name="connsiteY77" fmla="*/ 248455 h 354331"/>
                <a:gd name="connsiteX78" fmla="*/ 205413 w 266271"/>
                <a:gd name="connsiteY78" fmla="*/ 243448 h 354331"/>
                <a:gd name="connsiteX79" fmla="*/ 218526 w 266271"/>
                <a:gd name="connsiteY79" fmla="*/ 326506 h 354331"/>
                <a:gd name="connsiteX80" fmla="*/ 188877 w 266271"/>
                <a:gd name="connsiteY80" fmla="*/ 309464 h 354331"/>
                <a:gd name="connsiteX81" fmla="*/ 248012 w 266271"/>
                <a:gd name="connsiteY81" fmla="*/ 147312 h 354331"/>
                <a:gd name="connsiteX82" fmla="*/ 240153 w 266271"/>
                <a:gd name="connsiteY82" fmla="*/ 161827 h 354331"/>
                <a:gd name="connsiteX83" fmla="*/ 239646 w 266271"/>
                <a:gd name="connsiteY83" fmla="*/ 178821 h 354331"/>
                <a:gd name="connsiteX84" fmla="*/ 238558 w 266271"/>
                <a:gd name="connsiteY84" fmla="*/ 194002 h 354331"/>
                <a:gd name="connsiteX85" fmla="*/ 225772 w 266271"/>
                <a:gd name="connsiteY85" fmla="*/ 202658 h 354331"/>
                <a:gd name="connsiteX86" fmla="*/ 211457 w 266271"/>
                <a:gd name="connsiteY86" fmla="*/ 211462 h 354331"/>
                <a:gd name="connsiteX87" fmla="*/ 202649 w 266271"/>
                <a:gd name="connsiteY87" fmla="*/ 225782 h 354331"/>
                <a:gd name="connsiteX88" fmla="*/ 193993 w 266271"/>
                <a:gd name="connsiteY88" fmla="*/ 238557 h 354331"/>
                <a:gd name="connsiteX89" fmla="*/ 178817 w 266271"/>
                <a:gd name="connsiteY89" fmla="*/ 239651 h 354331"/>
                <a:gd name="connsiteX90" fmla="*/ 161823 w 266271"/>
                <a:gd name="connsiteY90" fmla="*/ 240158 h 354331"/>
                <a:gd name="connsiteX91" fmla="*/ 147312 w 266271"/>
                <a:gd name="connsiteY91" fmla="*/ 248018 h 354331"/>
                <a:gd name="connsiteX92" fmla="*/ 133136 w 266271"/>
                <a:gd name="connsiteY92" fmla="*/ 254845 h 354331"/>
                <a:gd name="connsiteX93" fmla="*/ 118960 w 266271"/>
                <a:gd name="connsiteY93" fmla="*/ 248018 h 354331"/>
                <a:gd name="connsiteX94" fmla="*/ 104450 w 266271"/>
                <a:gd name="connsiteY94" fmla="*/ 240158 h 354331"/>
                <a:gd name="connsiteX95" fmla="*/ 95952 w 266271"/>
                <a:gd name="connsiteY95" fmla="*/ 239172 h 354331"/>
                <a:gd name="connsiteX96" fmla="*/ 87455 w 266271"/>
                <a:gd name="connsiteY96" fmla="*/ 239646 h 354331"/>
                <a:gd name="connsiteX97" fmla="*/ 72270 w 266271"/>
                <a:gd name="connsiteY97" fmla="*/ 238553 h 354331"/>
                <a:gd name="connsiteX98" fmla="*/ 63620 w 266271"/>
                <a:gd name="connsiteY98" fmla="*/ 225777 h 354331"/>
                <a:gd name="connsiteX99" fmla="*/ 54811 w 266271"/>
                <a:gd name="connsiteY99" fmla="*/ 211457 h 354331"/>
                <a:gd name="connsiteX100" fmla="*/ 40495 w 266271"/>
                <a:gd name="connsiteY100" fmla="*/ 202653 h 354331"/>
                <a:gd name="connsiteX101" fmla="*/ 27719 w 266271"/>
                <a:gd name="connsiteY101" fmla="*/ 194002 h 354331"/>
                <a:gd name="connsiteX102" fmla="*/ 26626 w 266271"/>
                <a:gd name="connsiteY102" fmla="*/ 178813 h 354331"/>
                <a:gd name="connsiteX103" fmla="*/ 26119 w 266271"/>
                <a:gd name="connsiteY103" fmla="*/ 161823 h 354331"/>
                <a:gd name="connsiteX104" fmla="*/ 18259 w 266271"/>
                <a:gd name="connsiteY104" fmla="*/ 147312 h 354331"/>
                <a:gd name="connsiteX105" fmla="*/ 11432 w 266271"/>
                <a:gd name="connsiteY105" fmla="*/ 133136 h 354331"/>
                <a:gd name="connsiteX106" fmla="*/ 18259 w 266271"/>
                <a:gd name="connsiteY106" fmla="*/ 118964 h 354331"/>
                <a:gd name="connsiteX107" fmla="*/ 26119 w 266271"/>
                <a:gd name="connsiteY107" fmla="*/ 104449 h 354331"/>
                <a:gd name="connsiteX108" fmla="*/ 26626 w 266271"/>
                <a:gd name="connsiteY108" fmla="*/ 87455 h 354331"/>
                <a:gd name="connsiteX109" fmla="*/ 27715 w 266271"/>
                <a:gd name="connsiteY109" fmla="*/ 72275 h 354331"/>
                <a:gd name="connsiteX110" fmla="*/ 40495 w 266271"/>
                <a:gd name="connsiteY110" fmla="*/ 63619 h 354331"/>
                <a:gd name="connsiteX111" fmla="*/ 54815 w 266271"/>
                <a:gd name="connsiteY111" fmla="*/ 54811 h 354331"/>
                <a:gd name="connsiteX112" fmla="*/ 63624 w 266271"/>
                <a:gd name="connsiteY112" fmla="*/ 40495 h 354331"/>
                <a:gd name="connsiteX113" fmla="*/ 72279 w 266271"/>
                <a:gd name="connsiteY113" fmla="*/ 27719 h 354331"/>
                <a:gd name="connsiteX114" fmla="*/ 87455 w 266271"/>
                <a:gd name="connsiteY114" fmla="*/ 26626 h 354331"/>
                <a:gd name="connsiteX115" fmla="*/ 104450 w 266271"/>
                <a:gd name="connsiteY115" fmla="*/ 26119 h 354331"/>
                <a:gd name="connsiteX116" fmla="*/ 118960 w 266271"/>
                <a:gd name="connsiteY116" fmla="*/ 18259 h 354331"/>
                <a:gd name="connsiteX117" fmla="*/ 133136 w 266271"/>
                <a:gd name="connsiteY117" fmla="*/ 11432 h 354331"/>
                <a:gd name="connsiteX118" fmla="*/ 147312 w 266271"/>
                <a:gd name="connsiteY118" fmla="*/ 18259 h 354331"/>
                <a:gd name="connsiteX119" fmla="*/ 161823 w 266271"/>
                <a:gd name="connsiteY119" fmla="*/ 26119 h 354331"/>
                <a:gd name="connsiteX120" fmla="*/ 178817 w 266271"/>
                <a:gd name="connsiteY120" fmla="*/ 26631 h 354331"/>
                <a:gd name="connsiteX121" fmla="*/ 194002 w 266271"/>
                <a:gd name="connsiteY121" fmla="*/ 27724 h 354331"/>
                <a:gd name="connsiteX122" fmla="*/ 202652 w 266271"/>
                <a:gd name="connsiteY122" fmla="*/ 40500 h 354331"/>
                <a:gd name="connsiteX123" fmla="*/ 211461 w 266271"/>
                <a:gd name="connsiteY123" fmla="*/ 54820 h 354331"/>
                <a:gd name="connsiteX124" fmla="*/ 225777 w 266271"/>
                <a:gd name="connsiteY124" fmla="*/ 63624 h 354331"/>
                <a:gd name="connsiteX125" fmla="*/ 238553 w 266271"/>
                <a:gd name="connsiteY125" fmla="*/ 72275 h 354331"/>
                <a:gd name="connsiteX126" fmla="*/ 239646 w 266271"/>
                <a:gd name="connsiteY126" fmla="*/ 87464 h 354331"/>
                <a:gd name="connsiteX127" fmla="*/ 240153 w 266271"/>
                <a:gd name="connsiteY127" fmla="*/ 104449 h 354331"/>
                <a:gd name="connsiteX128" fmla="*/ 248012 w 266271"/>
                <a:gd name="connsiteY128" fmla="*/ 118964 h 354331"/>
                <a:gd name="connsiteX129" fmla="*/ 254840 w 266271"/>
                <a:gd name="connsiteY129" fmla="*/ 133136 h 354331"/>
                <a:gd name="connsiteX130" fmla="*/ 248012 w 266271"/>
                <a:gd name="connsiteY130" fmla="*/ 147312 h 354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266271" h="354331">
                  <a:moveTo>
                    <a:pt x="257379" y="153865"/>
                  </a:moveTo>
                  <a:cubicBezTo>
                    <a:pt x="261546" y="147912"/>
                    <a:pt x="266272" y="141159"/>
                    <a:pt x="266272" y="133136"/>
                  </a:cubicBezTo>
                  <a:cubicBezTo>
                    <a:pt x="266272" y="125118"/>
                    <a:pt x="261546" y="118365"/>
                    <a:pt x="257379" y="112412"/>
                  </a:cubicBezTo>
                  <a:cubicBezTo>
                    <a:pt x="254659" y="108528"/>
                    <a:pt x="252092" y="104859"/>
                    <a:pt x="251194" y="101501"/>
                  </a:cubicBezTo>
                  <a:cubicBezTo>
                    <a:pt x="250235" y="97906"/>
                    <a:pt x="250622" y="93301"/>
                    <a:pt x="251036" y="88422"/>
                  </a:cubicBezTo>
                  <a:cubicBezTo>
                    <a:pt x="251663" y="80958"/>
                    <a:pt x="252315" y="73237"/>
                    <a:pt x="248450" y="66554"/>
                  </a:cubicBezTo>
                  <a:cubicBezTo>
                    <a:pt x="244524" y="59768"/>
                    <a:pt x="237135" y="56318"/>
                    <a:pt x="230614" y="53271"/>
                  </a:cubicBezTo>
                  <a:cubicBezTo>
                    <a:pt x="226237" y="51225"/>
                    <a:pt x="222098" y="49290"/>
                    <a:pt x="219545" y="46737"/>
                  </a:cubicBezTo>
                  <a:cubicBezTo>
                    <a:pt x="216987" y="44183"/>
                    <a:pt x="215057" y="40044"/>
                    <a:pt x="213010" y="35663"/>
                  </a:cubicBezTo>
                  <a:cubicBezTo>
                    <a:pt x="209964" y="29142"/>
                    <a:pt x="206508" y="21752"/>
                    <a:pt x="199727" y="17827"/>
                  </a:cubicBezTo>
                  <a:cubicBezTo>
                    <a:pt x="193030" y="13953"/>
                    <a:pt x="185314" y="14608"/>
                    <a:pt x="177859" y="15241"/>
                  </a:cubicBezTo>
                  <a:cubicBezTo>
                    <a:pt x="172971" y="15655"/>
                    <a:pt x="168371" y="16032"/>
                    <a:pt x="164771" y="15078"/>
                  </a:cubicBezTo>
                  <a:cubicBezTo>
                    <a:pt x="161418" y="14181"/>
                    <a:pt x="157749" y="11613"/>
                    <a:pt x="153870" y="8897"/>
                  </a:cubicBezTo>
                  <a:cubicBezTo>
                    <a:pt x="147912" y="4725"/>
                    <a:pt x="141159" y="0"/>
                    <a:pt x="133136" y="0"/>
                  </a:cubicBezTo>
                  <a:cubicBezTo>
                    <a:pt x="125113" y="0"/>
                    <a:pt x="118360" y="4725"/>
                    <a:pt x="112402" y="8897"/>
                  </a:cubicBezTo>
                  <a:cubicBezTo>
                    <a:pt x="108523" y="11613"/>
                    <a:pt x="104854" y="14181"/>
                    <a:pt x="101501" y="15078"/>
                  </a:cubicBezTo>
                  <a:cubicBezTo>
                    <a:pt x="97896" y="16036"/>
                    <a:pt x="93292" y="15641"/>
                    <a:pt x="88418" y="15241"/>
                  </a:cubicBezTo>
                  <a:cubicBezTo>
                    <a:pt x="80944" y="14604"/>
                    <a:pt x="73224" y="13962"/>
                    <a:pt x="66554" y="17822"/>
                  </a:cubicBezTo>
                  <a:cubicBezTo>
                    <a:pt x="59769" y="21748"/>
                    <a:pt x="56318" y="29138"/>
                    <a:pt x="53271" y="35654"/>
                  </a:cubicBezTo>
                  <a:cubicBezTo>
                    <a:pt x="51225" y="40035"/>
                    <a:pt x="49290" y="44174"/>
                    <a:pt x="46732" y="46727"/>
                  </a:cubicBezTo>
                  <a:cubicBezTo>
                    <a:pt x="44174" y="49285"/>
                    <a:pt x="40040" y="51216"/>
                    <a:pt x="35658" y="53267"/>
                  </a:cubicBezTo>
                  <a:cubicBezTo>
                    <a:pt x="29138" y="56313"/>
                    <a:pt x="21752" y="59764"/>
                    <a:pt x="17822" y="66549"/>
                  </a:cubicBezTo>
                  <a:cubicBezTo>
                    <a:pt x="13957" y="73233"/>
                    <a:pt x="14608" y="80953"/>
                    <a:pt x="15241" y="88418"/>
                  </a:cubicBezTo>
                  <a:cubicBezTo>
                    <a:pt x="15650" y="93296"/>
                    <a:pt x="16041" y="97901"/>
                    <a:pt x="15078" y="101501"/>
                  </a:cubicBezTo>
                  <a:cubicBezTo>
                    <a:pt x="14181" y="104859"/>
                    <a:pt x="11613" y="108528"/>
                    <a:pt x="8892" y="112412"/>
                  </a:cubicBezTo>
                  <a:cubicBezTo>
                    <a:pt x="4725" y="118365"/>
                    <a:pt x="0" y="125118"/>
                    <a:pt x="0" y="133136"/>
                  </a:cubicBezTo>
                  <a:cubicBezTo>
                    <a:pt x="0" y="141159"/>
                    <a:pt x="4725" y="147912"/>
                    <a:pt x="8897" y="153870"/>
                  </a:cubicBezTo>
                  <a:cubicBezTo>
                    <a:pt x="11613" y="157748"/>
                    <a:pt x="14181" y="161418"/>
                    <a:pt x="15078" y="164771"/>
                  </a:cubicBezTo>
                  <a:cubicBezTo>
                    <a:pt x="16036" y="168367"/>
                    <a:pt x="15650" y="172971"/>
                    <a:pt x="15236" y="177850"/>
                  </a:cubicBezTo>
                  <a:cubicBezTo>
                    <a:pt x="14608" y="185315"/>
                    <a:pt x="13957" y="193039"/>
                    <a:pt x="17822" y="199723"/>
                  </a:cubicBezTo>
                  <a:cubicBezTo>
                    <a:pt x="21747" y="206509"/>
                    <a:pt x="29138" y="209960"/>
                    <a:pt x="35658" y="213006"/>
                  </a:cubicBezTo>
                  <a:cubicBezTo>
                    <a:pt x="40035" y="215052"/>
                    <a:pt x="44174" y="216987"/>
                    <a:pt x="46727" y="219540"/>
                  </a:cubicBezTo>
                  <a:cubicBezTo>
                    <a:pt x="48672" y="221481"/>
                    <a:pt x="50253" y="224341"/>
                    <a:pt x="51799" y="227525"/>
                  </a:cubicBezTo>
                  <a:lnTo>
                    <a:pt x="34593" y="336519"/>
                  </a:lnTo>
                  <a:cubicBezTo>
                    <a:pt x="34249" y="338696"/>
                    <a:pt x="35189" y="340872"/>
                    <a:pt x="36998" y="342119"/>
                  </a:cubicBezTo>
                  <a:cubicBezTo>
                    <a:pt x="38802" y="343365"/>
                    <a:pt x="41179" y="343458"/>
                    <a:pt x="43086" y="342366"/>
                  </a:cubicBezTo>
                  <a:lnTo>
                    <a:pt x="79098" y="321669"/>
                  </a:lnTo>
                  <a:lnTo>
                    <a:pt x="106975" y="352453"/>
                  </a:lnTo>
                  <a:cubicBezTo>
                    <a:pt x="108077" y="353667"/>
                    <a:pt x="109622" y="354332"/>
                    <a:pt x="111211" y="354332"/>
                  </a:cubicBezTo>
                  <a:cubicBezTo>
                    <a:pt x="111756" y="354332"/>
                    <a:pt x="112305" y="354253"/>
                    <a:pt x="112844" y="354095"/>
                  </a:cubicBezTo>
                  <a:cubicBezTo>
                    <a:pt x="114951" y="353462"/>
                    <a:pt x="116514" y="351681"/>
                    <a:pt x="116858" y="349509"/>
                  </a:cubicBezTo>
                  <a:lnTo>
                    <a:pt x="130067" y="265850"/>
                  </a:lnTo>
                  <a:cubicBezTo>
                    <a:pt x="131087" y="266005"/>
                    <a:pt x="132072" y="266277"/>
                    <a:pt x="133136" y="266277"/>
                  </a:cubicBezTo>
                  <a:cubicBezTo>
                    <a:pt x="134200" y="266277"/>
                    <a:pt x="135185" y="266005"/>
                    <a:pt x="136206" y="265850"/>
                  </a:cubicBezTo>
                  <a:lnTo>
                    <a:pt x="149414" y="349509"/>
                  </a:lnTo>
                  <a:cubicBezTo>
                    <a:pt x="149758" y="351681"/>
                    <a:pt x="151321" y="353462"/>
                    <a:pt x="153428" y="354095"/>
                  </a:cubicBezTo>
                  <a:cubicBezTo>
                    <a:pt x="153967" y="354253"/>
                    <a:pt x="154516" y="354332"/>
                    <a:pt x="155061" y="354332"/>
                  </a:cubicBezTo>
                  <a:cubicBezTo>
                    <a:pt x="156651" y="354332"/>
                    <a:pt x="158195" y="353667"/>
                    <a:pt x="159297" y="352453"/>
                  </a:cubicBezTo>
                  <a:lnTo>
                    <a:pt x="187174" y="321669"/>
                  </a:lnTo>
                  <a:lnTo>
                    <a:pt x="223186" y="342366"/>
                  </a:lnTo>
                  <a:cubicBezTo>
                    <a:pt x="225103" y="343472"/>
                    <a:pt x="227465" y="343374"/>
                    <a:pt x="229275" y="342119"/>
                  </a:cubicBezTo>
                  <a:cubicBezTo>
                    <a:pt x="231084" y="340872"/>
                    <a:pt x="232023" y="338696"/>
                    <a:pt x="231679" y="336519"/>
                  </a:cubicBezTo>
                  <a:lnTo>
                    <a:pt x="214473" y="227521"/>
                  </a:lnTo>
                  <a:cubicBezTo>
                    <a:pt x="216018" y="224341"/>
                    <a:pt x="217597" y="221484"/>
                    <a:pt x="219540" y="219545"/>
                  </a:cubicBezTo>
                  <a:cubicBezTo>
                    <a:pt x="222094" y="216992"/>
                    <a:pt x="226232" y="215056"/>
                    <a:pt x="230614" y="213010"/>
                  </a:cubicBezTo>
                  <a:cubicBezTo>
                    <a:pt x="237130" y="209964"/>
                    <a:pt x="244520" y="206513"/>
                    <a:pt x="248450" y="199728"/>
                  </a:cubicBezTo>
                  <a:cubicBezTo>
                    <a:pt x="252315" y="193044"/>
                    <a:pt x="251663" y="185323"/>
                    <a:pt x="251031" y="177859"/>
                  </a:cubicBezTo>
                  <a:cubicBezTo>
                    <a:pt x="250622" y="172980"/>
                    <a:pt x="250232" y="168375"/>
                    <a:pt x="251194" y="164776"/>
                  </a:cubicBezTo>
                  <a:cubicBezTo>
                    <a:pt x="252092" y="161418"/>
                    <a:pt x="254659" y="157748"/>
                    <a:pt x="257379" y="153865"/>
                  </a:cubicBezTo>
                  <a:close/>
                  <a:moveTo>
                    <a:pt x="107431" y="335924"/>
                  </a:moveTo>
                  <a:lnTo>
                    <a:pt x="84479" y="310581"/>
                  </a:lnTo>
                  <a:cubicBezTo>
                    <a:pt x="82674" y="308600"/>
                    <a:pt x="79726" y="308125"/>
                    <a:pt x="77395" y="309464"/>
                  </a:cubicBezTo>
                  <a:lnTo>
                    <a:pt x="47746" y="326506"/>
                  </a:lnTo>
                  <a:lnTo>
                    <a:pt x="60859" y="243451"/>
                  </a:lnTo>
                  <a:cubicBezTo>
                    <a:pt x="62488" y="245370"/>
                    <a:pt x="64285" y="247141"/>
                    <a:pt x="66545" y="248450"/>
                  </a:cubicBezTo>
                  <a:cubicBezTo>
                    <a:pt x="73228" y="252311"/>
                    <a:pt x="80934" y="251669"/>
                    <a:pt x="88413" y="251036"/>
                  </a:cubicBezTo>
                  <a:cubicBezTo>
                    <a:pt x="93287" y="250612"/>
                    <a:pt x="97896" y="250231"/>
                    <a:pt x="101501" y="251199"/>
                  </a:cubicBezTo>
                  <a:cubicBezTo>
                    <a:pt x="104854" y="252096"/>
                    <a:pt x="108523" y="254663"/>
                    <a:pt x="112402" y="257380"/>
                  </a:cubicBezTo>
                  <a:cubicBezTo>
                    <a:pt x="114525" y="258867"/>
                    <a:pt x="116794" y="260360"/>
                    <a:pt x="119140" y="261748"/>
                  </a:cubicBezTo>
                  <a:lnTo>
                    <a:pt x="107431" y="335924"/>
                  </a:lnTo>
                  <a:close/>
                  <a:moveTo>
                    <a:pt x="188877" y="309464"/>
                  </a:moveTo>
                  <a:cubicBezTo>
                    <a:pt x="186551" y="308125"/>
                    <a:pt x="183599" y="308600"/>
                    <a:pt x="181794" y="310581"/>
                  </a:cubicBezTo>
                  <a:lnTo>
                    <a:pt x="158841" y="335924"/>
                  </a:lnTo>
                  <a:lnTo>
                    <a:pt x="147132" y="261747"/>
                  </a:lnTo>
                  <a:cubicBezTo>
                    <a:pt x="149479" y="260359"/>
                    <a:pt x="151747" y="258867"/>
                    <a:pt x="153870" y="257380"/>
                  </a:cubicBezTo>
                  <a:cubicBezTo>
                    <a:pt x="157749" y="254663"/>
                    <a:pt x="161418" y="252096"/>
                    <a:pt x="164771" y="251199"/>
                  </a:cubicBezTo>
                  <a:cubicBezTo>
                    <a:pt x="168366" y="250236"/>
                    <a:pt x="172971" y="250627"/>
                    <a:pt x="177854" y="251036"/>
                  </a:cubicBezTo>
                  <a:cubicBezTo>
                    <a:pt x="185333" y="251673"/>
                    <a:pt x="193048" y="252314"/>
                    <a:pt x="199718" y="248455"/>
                  </a:cubicBezTo>
                  <a:cubicBezTo>
                    <a:pt x="201983" y="247144"/>
                    <a:pt x="203782" y="245369"/>
                    <a:pt x="205413" y="243448"/>
                  </a:cubicBezTo>
                  <a:lnTo>
                    <a:pt x="218526" y="326506"/>
                  </a:lnTo>
                  <a:lnTo>
                    <a:pt x="188877" y="309464"/>
                  </a:lnTo>
                  <a:close/>
                  <a:moveTo>
                    <a:pt x="248012" y="147312"/>
                  </a:moveTo>
                  <a:cubicBezTo>
                    <a:pt x="244845" y="151837"/>
                    <a:pt x="241572" y="156516"/>
                    <a:pt x="240153" y="161827"/>
                  </a:cubicBezTo>
                  <a:cubicBezTo>
                    <a:pt x="238674" y="167348"/>
                    <a:pt x="239166" y="173180"/>
                    <a:pt x="239646" y="178821"/>
                  </a:cubicBezTo>
                  <a:cubicBezTo>
                    <a:pt x="240148" y="184789"/>
                    <a:pt x="240623" y="190430"/>
                    <a:pt x="238558" y="194002"/>
                  </a:cubicBezTo>
                  <a:cubicBezTo>
                    <a:pt x="236427" y="197676"/>
                    <a:pt x="231251" y="200095"/>
                    <a:pt x="225772" y="202658"/>
                  </a:cubicBezTo>
                  <a:cubicBezTo>
                    <a:pt x="220694" y="205029"/>
                    <a:pt x="215438" y="207485"/>
                    <a:pt x="211457" y="211462"/>
                  </a:cubicBezTo>
                  <a:cubicBezTo>
                    <a:pt x="207481" y="215438"/>
                    <a:pt x="205025" y="220698"/>
                    <a:pt x="202649" y="225782"/>
                  </a:cubicBezTo>
                  <a:cubicBezTo>
                    <a:pt x="200090" y="231260"/>
                    <a:pt x="197672" y="236432"/>
                    <a:pt x="193993" y="238557"/>
                  </a:cubicBezTo>
                  <a:cubicBezTo>
                    <a:pt x="190417" y="240622"/>
                    <a:pt x="184780" y="240148"/>
                    <a:pt x="178817" y="239651"/>
                  </a:cubicBezTo>
                  <a:cubicBezTo>
                    <a:pt x="173180" y="239180"/>
                    <a:pt x="167348" y="238683"/>
                    <a:pt x="161823" y="240158"/>
                  </a:cubicBezTo>
                  <a:cubicBezTo>
                    <a:pt x="156516" y="241576"/>
                    <a:pt x="151837" y="244851"/>
                    <a:pt x="147312" y="248018"/>
                  </a:cubicBezTo>
                  <a:cubicBezTo>
                    <a:pt x="142298" y="251529"/>
                    <a:pt x="137559" y="254845"/>
                    <a:pt x="133136" y="254845"/>
                  </a:cubicBezTo>
                  <a:cubicBezTo>
                    <a:pt x="128713" y="254845"/>
                    <a:pt x="123974" y="251529"/>
                    <a:pt x="118960" y="248018"/>
                  </a:cubicBezTo>
                  <a:cubicBezTo>
                    <a:pt x="114435" y="244851"/>
                    <a:pt x="109756" y="241576"/>
                    <a:pt x="104450" y="240158"/>
                  </a:cubicBezTo>
                  <a:cubicBezTo>
                    <a:pt x="101673" y="239414"/>
                    <a:pt x="98822" y="239172"/>
                    <a:pt x="95952" y="239172"/>
                  </a:cubicBezTo>
                  <a:cubicBezTo>
                    <a:pt x="93115" y="239172"/>
                    <a:pt x="90259" y="239409"/>
                    <a:pt x="87455" y="239646"/>
                  </a:cubicBezTo>
                  <a:cubicBezTo>
                    <a:pt x="81474" y="240139"/>
                    <a:pt x="75842" y="240622"/>
                    <a:pt x="72270" y="238553"/>
                  </a:cubicBezTo>
                  <a:cubicBezTo>
                    <a:pt x="68596" y="236428"/>
                    <a:pt x="66177" y="231256"/>
                    <a:pt x="63620" y="225777"/>
                  </a:cubicBezTo>
                  <a:cubicBezTo>
                    <a:pt x="61242" y="220693"/>
                    <a:pt x="58787" y="215434"/>
                    <a:pt x="54811" y="211457"/>
                  </a:cubicBezTo>
                  <a:cubicBezTo>
                    <a:pt x="50834" y="207480"/>
                    <a:pt x="45578" y="205025"/>
                    <a:pt x="40495" y="202653"/>
                  </a:cubicBezTo>
                  <a:cubicBezTo>
                    <a:pt x="35016" y="200090"/>
                    <a:pt x="29845" y="197671"/>
                    <a:pt x="27719" y="194002"/>
                  </a:cubicBezTo>
                  <a:cubicBezTo>
                    <a:pt x="25650" y="190421"/>
                    <a:pt x="26124" y="184779"/>
                    <a:pt x="26626" y="178813"/>
                  </a:cubicBezTo>
                  <a:cubicBezTo>
                    <a:pt x="27101" y="173171"/>
                    <a:pt x="27594" y="167344"/>
                    <a:pt x="26119" y="161823"/>
                  </a:cubicBezTo>
                  <a:cubicBezTo>
                    <a:pt x="24701" y="156516"/>
                    <a:pt x="21427" y="151837"/>
                    <a:pt x="18259" y="147312"/>
                  </a:cubicBezTo>
                  <a:cubicBezTo>
                    <a:pt x="14748" y="142299"/>
                    <a:pt x="11432" y="137559"/>
                    <a:pt x="11432" y="133136"/>
                  </a:cubicBezTo>
                  <a:cubicBezTo>
                    <a:pt x="11432" y="128718"/>
                    <a:pt x="14748" y="123983"/>
                    <a:pt x="18259" y="118964"/>
                  </a:cubicBezTo>
                  <a:cubicBezTo>
                    <a:pt x="21427" y="114440"/>
                    <a:pt x="24701" y="109760"/>
                    <a:pt x="26119" y="104449"/>
                  </a:cubicBezTo>
                  <a:cubicBezTo>
                    <a:pt x="27598" y="98929"/>
                    <a:pt x="27105" y="93096"/>
                    <a:pt x="26626" y="87455"/>
                  </a:cubicBezTo>
                  <a:cubicBezTo>
                    <a:pt x="26124" y="81488"/>
                    <a:pt x="25650" y="75847"/>
                    <a:pt x="27715" y="72275"/>
                  </a:cubicBezTo>
                  <a:cubicBezTo>
                    <a:pt x="29845" y="68596"/>
                    <a:pt x="35016" y="66182"/>
                    <a:pt x="40495" y="63619"/>
                  </a:cubicBezTo>
                  <a:cubicBezTo>
                    <a:pt x="45578" y="61243"/>
                    <a:pt x="50839" y="58787"/>
                    <a:pt x="54815" y="54811"/>
                  </a:cubicBezTo>
                  <a:cubicBezTo>
                    <a:pt x="58792" y="50834"/>
                    <a:pt x="61247" y="45579"/>
                    <a:pt x="63624" y="40495"/>
                  </a:cubicBezTo>
                  <a:cubicBezTo>
                    <a:pt x="66187" y="35016"/>
                    <a:pt x="68600" y="29845"/>
                    <a:pt x="72279" y="27719"/>
                  </a:cubicBezTo>
                  <a:cubicBezTo>
                    <a:pt x="75851" y="25640"/>
                    <a:pt x="81483" y="26124"/>
                    <a:pt x="87455" y="26626"/>
                  </a:cubicBezTo>
                  <a:cubicBezTo>
                    <a:pt x="93102" y="27110"/>
                    <a:pt x="98934" y="27608"/>
                    <a:pt x="104450" y="26119"/>
                  </a:cubicBezTo>
                  <a:cubicBezTo>
                    <a:pt x="109756" y="24701"/>
                    <a:pt x="114435" y="21427"/>
                    <a:pt x="118960" y="18259"/>
                  </a:cubicBezTo>
                  <a:cubicBezTo>
                    <a:pt x="123974" y="14748"/>
                    <a:pt x="128713" y="11432"/>
                    <a:pt x="133136" y="11432"/>
                  </a:cubicBezTo>
                  <a:cubicBezTo>
                    <a:pt x="137559" y="11432"/>
                    <a:pt x="142298" y="14748"/>
                    <a:pt x="147312" y="18259"/>
                  </a:cubicBezTo>
                  <a:cubicBezTo>
                    <a:pt x="151837" y="21427"/>
                    <a:pt x="156516" y="24701"/>
                    <a:pt x="161823" y="26119"/>
                  </a:cubicBezTo>
                  <a:cubicBezTo>
                    <a:pt x="167348" y="27598"/>
                    <a:pt x="173175" y="27110"/>
                    <a:pt x="178817" y="26631"/>
                  </a:cubicBezTo>
                  <a:cubicBezTo>
                    <a:pt x="184793" y="26124"/>
                    <a:pt x="190421" y="25650"/>
                    <a:pt x="194002" y="27724"/>
                  </a:cubicBezTo>
                  <a:cubicBezTo>
                    <a:pt x="197677" y="29849"/>
                    <a:pt x="200095" y="35021"/>
                    <a:pt x="202652" y="40500"/>
                  </a:cubicBezTo>
                  <a:cubicBezTo>
                    <a:pt x="205030" y="45583"/>
                    <a:pt x="207485" y="50843"/>
                    <a:pt x="211461" y="54820"/>
                  </a:cubicBezTo>
                  <a:cubicBezTo>
                    <a:pt x="215438" y="58796"/>
                    <a:pt x="220694" y="61252"/>
                    <a:pt x="225777" y="63624"/>
                  </a:cubicBezTo>
                  <a:cubicBezTo>
                    <a:pt x="231256" y="66187"/>
                    <a:pt x="236427" y="68605"/>
                    <a:pt x="238553" y="72275"/>
                  </a:cubicBezTo>
                  <a:cubicBezTo>
                    <a:pt x="240623" y="75856"/>
                    <a:pt x="240148" y="81493"/>
                    <a:pt x="239646" y="87464"/>
                  </a:cubicBezTo>
                  <a:cubicBezTo>
                    <a:pt x="239171" y="93101"/>
                    <a:pt x="238679" y="98929"/>
                    <a:pt x="240153" y="104449"/>
                  </a:cubicBezTo>
                  <a:cubicBezTo>
                    <a:pt x="241572" y="109760"/>
                    <a:pt x="244845" y="114440"/>
                    <a:pt x="248012" y="118964"/>
                  </a:cubicBezTo>
                  <a:cubicBezTo>
                    <a:pt x="251524" y="123983"/>
                    <a:pt x="254840" y="128718"/>
                    <a:pt x="254840" y="133136"/>
                  </a:cubicBezTo>
                  <a:cubicBezTo>
                    <a:pt x="254840" y="137559"/>
                    <a:pt x="251524" y="142294"/>
                    <a:pt x="248012" y="14731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3047DDB-5032-EBC1-B3D3-2B9881C808E0}"/>
                </a:ext>
              </a:extLst>
            </p:cNvPr>
            <p:cNvSpPr/>
            <p:nvPr/>
          </p:nvSpPr>
          <p:spPr>
            <a:xfrm>
              <a:off x="3561332" y="4447403"/>
              <a:ext cx="181487" cy="181491"/>
            </a:xfrm>
            <a:custGeom>
              <a:avLst/>
              <a:gdLst>
                <a:gd name="connsiteX0" fmla="*/ 90744 w 181487"/>
                <a:gd name="connsiteY0" fmla="*/ 0 h 181491"/>
                <a:gd name="connsiteX1" fmla="*/ 0 w 181487"/>
                <a:gd name="connsiteY1" fmla="*/ 90743 h 181491"/>
                <a:gd name="connsiteX2" fmla="*/ 90744 w 181487"/>
                <a:gd name="connsiteY2" fmla="*/ 181491 h 181491"/>
                <a:gd name="connsiteX3" fmla="*/ 181487 w 181487"/>
                <a:gd name="connsiteY3" fmla="*/ 90743 h 181491"/>
                <a:gd name="connsiteX4" fmla="*/ 90744 w 181487"/>
                <a:gd name="connsiteY4" fmla="*/ 0 h 181491"/>
                <a:gd name="connsiteX5" fmla="*/ 90744 w 181487"/>
                <a:gd name="connsiteY5" fmla="*/ 170059 h 181491"/>
                <a:gd name="connsiteX6" fmla="*/ 11432 w 181487"/>
                <a:gd name="connsiteY6" fmla="*/ 90743 h 181491"/>
                <a:gd name="connsiteX7" fmla="*/ 90744 w 181487"/>
                <a:gd name="connsiteY7" fmla="*/ 11432 h 181491"/>
                <a:gd name="connsiteX8" fmla="*/ 170056 w 181487"/>
                <a:gd name="connsiteY8" fmla="*/ 90743 h 181491"/>
                <a:gd name="connsiteX9" fmla="*/ 90744 w 181487"/>
                <a:gd name="connsiteY9" fmla="*/ 170059 h 181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1487" h="181491">
                  <a:moveTo>
                    <a:pt x="90744" y="0"/>
                  </a:moveTo>
                  <a:cubicBezTo>
                    <a:pt x="40710" y="0"/>
                    <a:pt x="0" y="40709"/>
                    <a:pt x="0" y="90743"/>
                  </a:cubicBezTo>
                  <a:cubicBezTo>
                    <a:pt x="0" y="140782"/>
                    <a:pt x="40710" y="181491"/>
                    <a:pt x="90744" y="181491"/>
                  </a:cubicBezTo>
                  <a:cubicBezTo>
                    <a:pt x="140778" y="181491"/>
                    <a:pt x="181487" y="140782"/>
                    <a:pt x="181487" y="90743"/>
                  </a:cubicBezTo>
                  <a:cubicBezTo>
                    <a:pt x="181487" y="40709"/>
                    <a:pt x="140778" y="0"/>
                    <a:pt x="90744" y="0"/>
                  </a:cubicBezTo>
                  <a:close/>
                  <a:moveTo>
                    <a:pt x="90744" y="170059"/>
                  </a:moveTo>
                  <a:cubicBezTo>
                    <a:pt x="47012" y="170059"/>
                    <a:pt x="11432" y="134480"/>
                    <a:pt x="11432" y="90743"/>
                  </a:cubicBezTo>
                  <a:cubicBezTo>
                    <a:pt x="11432" y="47011"/>
                    <a:pt x="47012" y="11432"/>
                    <a:pt x="90744" y="11432"/>
                  </a:cubicBezTo>
                  <a:cubicBezTo>
                    <a:pt x="134476" y="11432"/>
                    <a:pt x="170056" y="47011"/>
                    <a:pt x="170056" y="90743"/>
                  </a:cubicBezTo>
                  <a:cubicBezTo>
                    <a:pt x="170056" y="134480"/>
                    <a:pt x="134476" y="170059"/>
                    <a:pt x="90744" y="1700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EBFBA76-D9C3-13B3-24C4-9A55937527B3}"/>
                </a:ext>
              </a:extLst>
            </p:cNvPr>
            <p:cNvSpPr/>
            <p:nvPr/>
          </p:nvSpPr>
          <p:spPr>
            <a:xfrm>
              <a:off x="3602223" y="4490875"/>
              <a:ext cx="99705" cy="94968"/>
            </a:xfrm>
            <a:custGeom>
              <a:avLst/>
              <a:gdLst>
                <a:gd name="connsiteX0" fmla="*/ 93990 w 99705"/>
                <a:gd name="connsiteY0" fmla="*/ 31649 h 94968"/>
                <a:gd name="connsiteX1" fmla="*/ 64424 w 99705"/>
                <a:gd name="connsiteY1" fmla="*/ 31649 h 94968"/>
                <a:gd name="connsiteX2" fmla="*/ 55290 w 99705"/>
                <a:gd name="connsiteY2" fmla="*/ 3530 h 94968"/>
                <a:gd name="connsiteX3" fmla="*/ 44416 w 99705"/>
                <a:gd name="connsiteY3" fmla="*/ 3530 h 94968"/>
                <a:gd name="connsiteX4" fmla="*/ 35281 w 99705"/>
                <a:gd name="connsiteY4" fmla="*/ 31649 h 94968"/>
                <a:gd name="connsiteX5" fmla="*/ 5716 w 99705"/>
                <a:gd name="connsiteY5" fmla="*/ 31649 h 94968"/>
                <a:gd name="connsiteX6" fmla="*/ 279 w 99705"/>
                <a:gd name="connsiteY6" fmla="*/ 35598 h 94968"/>
                <a:gd name="connsiteX7" fmla="*/ 2358 w 99705"/>
                <a:gd name="connsiteY7" fmla="*/ 41989 h 94968"/>
                <a:gd name="connsiteX8" fmla="*/ 26273 w 99705"/>
                <a:gd name="connsiteY8" fmla="*/ 59364 h 94968"/>
                <a:gd name="connsiteX9" fmla="*/ 17138 w 99705"/>
                <a:gd name="connsiteY9" fmla="*/ 87483 h 94968"/>
                <a:gd name="connsiteX10" fmla="*/ 19218 w 99705"/>
                <a:gd name="connsiteY10" fmla="*/ 93873 h 94968"/>
                <a:gd name="connsiteX11" fmla="*/ 25934 w 99705"/>
                <a:gd name="connsiteY11" fmla="*/ 93873 h 94968"/>
                <a:gd name="connsiteX12" fmla="*/ 49853 w 99705"/>
                <a:gd name="connsiteY12" fmla="*/ 76498 h 94968"/>
                <a:gd name="connsiteX13" fmla="*/ 73772 w 99705"/>
                <a:gd name="connsiteY13" fmla="*/ 93873 h 94968"/>
                <a:gd name="connsiteX14" fmla="*/ 77131 w 99705"/>
                <a:gd name="connsiteY14" fmla="*/ 94967 h 94968"/>
                <a:gd name="connsiteX15" fmla="*/ 80488 w 99705"/>
                <a:gd name="connsiteY15" fmla="*/ 93873 h 94968"/>
                <a:gd name="connsiteX16" fmla="*/ 82567 w 99705"/>
                <a:gd name="connsiteY16" fmla="*/ 87483 h 94968"/>
                <a:gd name="connsiteX17" fmla="*/ 73433 w 99705"/>
                <a:gd name="connsiteY17" fmla="*/ 59364 h 94968"/>
                <a:gd name="connsiteX18" fmla="*/ 97347 w 99705"/>
                <a:gd name="connsiteY18" fmla="*/ 41989 h 94968"/>
                <a:gd name="connsiteX19" fmla="*/ 99427 w 99705"/>
                <a:gd name="connsiteY19" fmla="*/ 35598 h 94968"/>
                <a:gd name="connsiteX20" fmla="*/ 93990 w 99705"/>
                <a:gd name="connsiteY20" fmla="*/ 31649 h 94968"/>
                <a:gd name="connsiteX21" fmla="*/ 63354 w 99705"/>
                <a:gd name="connsiteY21" fmla="*/ 52559 h 94968"/>
                <a:gd name="connsiteX22" fmla="*/ 61275 w 99705"/>
                <a:gd name="connsiteY22" fmla="*/ 58950 h 94968"/>
                <a:gd name="connsiteX23" fmla="*/ 66262 w 99705"/>
                <a:gd name="connsiteY23" fmla="*/ 74289 h 94968"/>
                <a:gd name="connsiteX24" fmla="*/ 53210 w 99705"/>
                <a:gd name="connsiteY24" fmla="*/ 64810 h 94968"/>
                <a:gd name="connsiteX25" fmla="*/ 49853 w 99705"/>
                <a:gd name="connsiteY25" fmla="*/ 63717 h 94968"/>
                <a:gd name="connsiteX26" fmla="*/ 46495 w 99705"/>
                <a:gd name="connsiteY26" fmla="*/ 64810 h 94968"/>
                <a:gd name="connsiteX27" fmla="*/ 33444 w 99705"/>
                <a:gd name="connsiteY27" fmla="*/ 74289 h 94968"/>
                <a:gd name="connsiteX28" fmla="*/ 38430 w 99705"/>
                <a:gd name="connsiteY28" fmla="*/ 58950 h 94968"/>
                <a:gd name="connsiteX29" fmla="*/ 36351 w 99705"/>
                <a:gd name="connsiteY29" fmla="*/ 52559 h 94968"/>
                <a:gd name="connsiteX30" fmla="*/ 23306 w 99705"/>
                <a:gd name="connsiteY30" fmla="*/ 43081 h 94968"/>
                <a:gd name="connsiteX31" fmla="*/ 39435 w 99705"/>
                <a:gd name="connsiteY31" fmla="*/ 43081 h 94968"/>
                <a:gd name="connsiteX32" fmla="*/ 44872 w 99705"/>
                <a:gd name="connsiteY32" fmla="*/ 39132 h 94968"/>
                <a:gd name="connsiteX33" fmla="*/ 49853 w 99705"/>
                <a:gd name="connsiteY33" fmla="*/ 23794 h 94968"/>
                <a:gd name="connsiteX34" fmla="*/ 54833 w 99705"/>
                <a:gd name="connsiteY34" fmla="*/ 39132 h 94968"/>
                <a:gd name="connsiteX35" fmla="*/ 60271 w 99705"/>
                <a:gd name="connsiteY35" fmla="*/ 43081 h 94968"/>
                <a:gd name="connsiteX36" fmla="*/ 76400 w 99705"/>
                <a:gd name="connsiteY36" fmla="*/ 43081 h 94968"/>
                <a:gd name="connsiteX37" fmla="*/ 63354 w 99705"/>
                <a:gd name="connsiteY37" fmla="*/ 52559 h 94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99705" h="94968">
                  <a:moveTo>
                    <a:pt x="93990" y="31649"/>
                  </a:moveTo>
                  <a:lnTo>
                    <a:pt x="64424" y="31649"/>
                  </a:lnTo>
                  <a:lnTo>
                    <a:pt x="55290" y="3530"/>
                  </a:lnTo>
                  <a:cubicBezTo>
                    <a:pt x="53755" y="-1177"/>
                    <a:pt x="45950" y="-1177"/>
                    <a:pt x="44416" y="3530"/>
                  </a:cubicBezTo>
                  <a:lnTo>
                    <a:pt x="35281" y="31649"/>
                  </a:lnTo>
                  <a:lnTo>
                    <a:pt x="5716" y="31649"/>
                  </a:lnTo>
                  <a:cubicBezTo>
                    <a:pt x="3241" y="31649"/>
                    <a:pt x="1047" y="33245"/>
                    <a:pt x="279" y="35598"/>
                  </a:cubicBezTo>
                  <a:cubicBezTo>
                    <a:pt x="-484" y="37956"/>
                    <a:pt x="353" y="40532"/>
                    <a:pt x="2358" y="41989"/>
                  </a:cubicBezTo>
                  <a:lnTo>
                    <a:pt x="26273" y="59364"/>
                  </a:lnTo>
                  <a:lnTo>
                    <a:pt x="17138" y="87483"/>
                  </a:lnTo>
                  <a:cubicBezTo>
                    <a:pt x="16376" y="89841"/>
                    <a:pt x="17213" y="92418"/>
                    <a:pt x="19218" y="93873"/>
                  </a:cubicBezTo>
                  <a:cubicBezTo>
                    <a:pt x="21218" y="95333"/>
                    <a:pt x="23933" y="95333"/>
                    <a:pt x="25934" y="93873"/>
                  </a:cubicBezTo>
                  <a:lnTo>
                    <a:pt x="49853" y="76498"/>
                  </a:lnTo>
                  <a:lnTo>
                    <a:pt x="73772" y="93873"/>
                  </a:lnTo>
                  <a:cubicBezTo>
                    <a:pt x="74772" y="94604"/>
                    <a:pt x="75953" y="94967"/>
                    <a:pt x="77131" y="94967"/>
                  </a:cubicBezTo>
                  <a:cubicBezTo>
                    <a:pt x="78307" y="94967"/>
                    <a:pt x="79488" y="94604"/>
                    <a:pt x="80488" y="93873"/>
                  </a:cubicBezTo>
                  <a:cubicBezTo>
                    <a:pt x="82493" y="92418"/>
                    <a:pt x="83329" y="89841"/>
                    <a:pt x="82567" y="87483"/>
                  </a:cubicBezTo>
                  <a:lnTo>
                    <a:pt x="73433" y="59364"/>
                  </a:lnTo>
                  <a:lnTo>
                    <a:pt x="97347" y="41989"/>
                  </a:lnTo>
                  <a:cubicBezTo>
                    <a:pt x="99352" y="40532"/>
                    <a:pt x="100190" y="37956"/>
                    <a:pt x="99427" y="35598"/>
                  </a:cubicBezTo>
                  <a:cubicBezTo>
                    <a:pt x="98659" y="33245"/>
                    <a:pt x="96464" y="31649"/>
                    <a:pt x="93990" y="31649"/>
                  </a:cubicBezTo>
                  <a:close/>
                  <a:moveTo>
                    <a:pt x="63354" y="52559"/>
                  </a:moveTo>
                  <a:cubicBezTo>
                    <a:pt x="61349" y="54015"/>
                    <a:pt x="60512" y="56592"/>
                    <a:pt x="61275" y="58950"/>
                  </a:cubicBezTo>
                  <a:lnTo>
                    <a:pt x="66262" y="74289"/>
                  </a:lnTo>
                  <a:lnTo>
                    <a:pt x="53210" y="64810"/>
                  </a:lnTo>
                  <a:cubicBezTo>
                    <a:pt x="52211" y="64080"/>
                    <a:pt x="51029" y="63717"/>
                    <a:pt x="49853" y="63717"/>
                  </a:cubicBezTo>
                  <a:cubicBezTo>
                    <a:pt x="48676" y="63717"/>
                    <a:pt x="47494" y="64080"/>
                    <a:pt x="46495" y="64810"/>
                  </a:cubicBezTo>
                  <a:lnTo>
                    <a:pt x="33444" y="74289"/>
                  </a:lnTo>
                  <a:lnTo>
                    <a:pt x="38430" y="58950"/>
                  </a:lnTo>
                  <a:cubicBezTo>
                    <a:pt x="39193" y="56592"/>
                    <a:pt x="38356" y="54015"/>
                    <a:pt x="36351" y="52559"/>
                  </a:cubicBezTo>
                  <a:lnTo>
                    <a:pt x="23306" y="43081"/>
                  </a:lnTo>
                  <a:lnTo>
                    <a:pt x="39435" y="43081"/>
                  </a:lnTo>
                  <a:cubicBezTo>
                    <a:pt x="41909" y="43081"/>
                    <a:pt x="44104" y="41486"/>
                    <a:pt x="44872" y="39132"/>
                  </a:cubicBezTo>
                  <a:lnTo>
                    <a:pt x="49853" y="23794"/>
                  </a:lnTo>
                  <a:lnTo>
                    <a:pt x="54833" y="39132"/>
                  </a:lnTo>
                  <a:cubicBezTo>
                    <a:pt x="55601" y="41486"/>
                    <a:pt x="57797" y="43081"/>
                    <a:pt x="60271" y="43081"/>
                  </a:cubicBezTo>
                  <a:lnTo>
                    <a:pt x="76400" y="43081"/>
                  </a:lnTo>
                  <a:lnTo>
                    <a:pt x="63354" y="525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FAC23ED-84A6-B3B7-6537-FB888016F415}"/>
              </a:ext>
            </a:extLst>
          </p:cNvPr>
          <p:cNvCxnSpPr>
            <a:cxnSpLocks/>
          </p:cNvCxnSpPr>
          <p:nvPr/>
        </p:nvCxnSpPr>
        <p:spPr>
          <a:xfrm>
            <a:off x="4567400" y="5881089"/>
            <a:ext cx="306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B05A0EB-7B2B-3C68-1133-4DB97165DF98}"/>
              </a:ext>
            </a:extLst>
          </p:cNvPr>
          <p:cNvCxnSpPr/>
          <p:nvPr/>
        </p:nvCxnSpPr>
        <p:spPr>
          <a:xfrm>
            <a:off x="501650" y="6445852"/>
            <a:ext cx="4320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803A80B6-E5AA-AFF9-D81D-07049F9235D9}"/>
              </a:ext>
            </a:extLst>
          </p:cNvPr>
          <p:cNvSpPr/>
          <p:nvPr/>
        </p:nvSpPr>
        <p:spPr>
          <a:xfrm>
            <a:off x="4086223" y="1816719"/>
            <a:ext cx="4150751" cy="835844"/>
          </a:xfrm>
          <a:prstGeom prst="homePlate">
            <a:avLst>
              <a:gd name="adj" fmla="val 3676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WHEN EMPLOYEES CLAIM</a:t>
            </a:r>
          </a:p>
          <a:p>
            <a:pPr marL="0" marR="0" lvl="0" indent="265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2. CLAIMS SUPPORT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F9344A01-96E3-48CD-28F8-55F955B7EAC9}"/>
              </a:ext>
            </a:extLst>
          </p:cNvPr>
          <p:cNvSpPr/>
          <p:nvPr/>
        </p:nvSpPr>
        <p:spPr>
          <a:xfrm>
            <a:off x="441719" y="1816719"/>
            <a:ext cx="3949178" cy="835844"/>
          </a:xfrm>
          <a:prstGeom prst="homePlate">
            <a:avLst>
              <a:gd name="adj" fmla="val 35621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08000" rIns="36000" rtlCol="0" anchor="t"/>
          <a:lstStyle/>
          <a:p>
            <a:pPr marL="0" marR="0" lvl="0" indent="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BEFORE EMPLOYEES CLAIM</a:t>
            </a:r>
          </a:p>
          <a:p>
            <a:pPr marL="0" marR="0" lvl="0" indent="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Bold" panose="02000000000000000000" pitchFamily="50" charset="0"/>
                <a:ea typeface="+mn-ea"/>
                <a:cs typeface="+mn-cs"/>
              </a:rPr>
              <a:t>1. HEALTHY LIVING</a:t>
            </a:r>
          </a:p>
        </p:txBody>
      </p:sp>
      <p:pic>
        <p:nvPicPr>
          <p:cNvPr id="13" name="Google Shape;350;g216f6c9b5c2_4_35">
            <a:extLst>
              <a:ext uri="{FF2B5EF4-FFF2-40B4-BE49-F238E27FC236}">
                <a16:creationId xmlns:a16="http://schemas.microsoft.com/office/drawing/2014/main" id="{02E444D4-FB9F-016B-5BD6-A624959620D9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429008" y="692334"/>
            <a:ext cx="3333971" cy="6885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9165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Rectangle 233">
            <a:extLst>
              <a:ext uri="{FF2B5EF4-FFF2-40B4-BE49-F238E27FC236}">
                <a16:creationId xmlns:a16="http://schemas.microsoft.com/office/drawing/2014/main" id="{DDAE19CD-1056-EB4C-4A4A-C150BECB90BC}"/>
              </a:ext>
            </a:extLst>
          </p:cNvPr>
          <p:cNvSpPr/>
          <p:nvPr/>
        </p:nvSpPr>
        <p:spPr>
          <a:xfrm>
            <a:off x="160723" y="5299899"/>
            <a:ext cx="1584000" cy="5846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bIns="180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Take action</a:t>
            </a:r>
          </a:p>
        </p:txBody>
      </p:sp>
      <p:sp>
        <p:nvSpPr>
          <p:cNvPr id="225" name="Callout: Down Arrow 224">
            <a:extLst>
              <a:ext uri="{FF2B5EF4-FFF2-40B4-BE49-F238E27FC236}">
                <a16:creationId xmlns:a16="http://schemas.microsoft.com/office/drawing/2014/main" id="{57D4D048-8406-5CE5-B380-8F15C9A53E35}"/>
              </a:ext>
            </a:extLst>
          </p:cNvPr>
          <p:cNvSpPr/>
          <p:nvPr/>
        </p:nvSpPr>
        <p:spPr>
          <a:xfrm>
            <a:off x="160723" y="4634672"/>
            <a:ext cx="1584000" cy="900000"/>
          </a:xfrm>
          <a:prstGeom prst="downArrowCallou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bIns="180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Check yourself</a:t>
            </a:r>
          </a:p>
        </p:txBody>
      </p:sp>
      <p:sp>
        <p:nvSpPr>
          <p:cNvPr id="229" name="Arrow: Pentagon 228">
            <a:extLst>
              <a:ext uri="{FF2B5EF4-FFF2-40B4-BE49-F238E27FC236}">
                <a16:creationId xmlns:a16="http://schemas.microsoft.com/office/drawing/2014/main" id="{B3D869F0-9F38-6FAC-3F64-B948051891D8}"/>
              </a:ext>
            </a:extLst>
          </p:cNvPr>
          <p:cNvSpPr/>
          <p:nvPr/>
        </p:nvSpPr>
        <p:spPr>
          <a:xfrm>
            <a:off x="8560028" y="2427672"/>
            <a:ext cx="3825935" cy="574146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     During members claim</a:t>
            </a:r>
          </a:p>
        </p:txBody>
      </p:sp>
      <p:sp>
        <p:nvSpPr>
          <p:cNvPr id="228" name="Arrow: Pentagon 227">
            <a:extLst>
              <a:ext uri="{FF2B5EF4-FFF2-40B4-BE49-F238E27FC236}">
                <a16:creationId xmlns:a16="http://schemas.microsoft.com/office/drawing/2014/main" id="{02C13F5C-308A-1A29-0363-57B5FC0CFBD0}"/>
              </a:ext>
            </a:extLst>
          </p:cNvPr>
          <p:cNvSpPr/>
          <p:nvPr/>
        </p:nvSpPr>
        <p:spPr>
          <a:xfrm>
            <a:off x="4959160" y="2427672"/>
            <a:ext cx="4018579" cy="580761"/>
          </a:xfrm>
          <a:prstGeom prst="homePlate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        When members claim</a:t>
            </a:r>
          </a:p>
        </p:txBody>
      </p:sp>
      <p:sp>
        <p:nvSpPr>
          <p:cNvPr id="227" name="Arrow: Pentagon 226">
            <a:extLst>
              <a:ext uri="{FF2B5EF4-FFF2-40B4-BE49-F238E27FC236}">
                <a16:creationId xmlns:a16="http://schemas.microsoft.com/office/drawing/2014/main" id="{443677DA-02B5-CBC2-F8E0-8C8C063D5B55}"/>
              </a:ext>
            </a:extLst>
          </p:cNvPr>
          <p:cNvSpPr/>
          <p:nvPr/>
        </p:nvSpPr>
        <p:spPr>
          <a:xfrm>
            <a:off x="-3723" y="2427672"/>
            <a:ext cx="5481815" cy="581425"/>
          </a:xfrm>
          <a:prstGeom prst="homePlate">
            <a:avLst>
              <a:gd name="adj" fmla="val 5394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b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Before members claim</a:t>
            </a:r>
          </a:p>
        </p:txBody>
      </p:sp>
      <p:sp>
        <p:nvSpPr>
          <p:cNvPr id="322" name="Rectangle 321">
            <a:extLst>
              <a:ext uri="{FF2B5EF4-FFF2-40B4-BE49-F238E27FC236}">
                <a16:creationId xmlns:a16="http://schemas.microsoft.com/office/drawing/2014/main" id="{2048CD29-E966-2B22-991B-CC2876BF4151}"/>
              </a:ext>
            </a:extLst>
          </p:cNvPr>
          <p:cNvSpPr/>
          <p:nvPr/>
        </p:nvSpPr>
        <p:spPr>
          <a:xfrm>
            <a:off x="10315395" y="2151465"/>
            <a:ext cx="45719" cy="28763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1" name="Rectangle 320">
            <a:extLst>
              <a:ext uri="{FF2B5EF4-FFF2-40B4-BE49-F238E27FC236}">
                <a16:creationId xmlns:a16="http://schemas.microsoft.com/office/drawing/2014/main" id="{0D9BD569-BB5B-457C-75B1-1822D960BC20}"/>
              </a:ext>
            </a:extLst>
          </p:cNvPr>
          <p:cNvSpPr/>
          <p:nvPr/>
        </p:nvSpPr>
        <p:spPr>
          <a:xfrm>
            <a:off x="7727736" y="2160085"/>
            <a:ext cx="45719" cy="28763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5AAE3210-F415-390F-E15E-4F7E4D305243}"/>
              </a:ext>
            </a:extLst>
          </p:cNvPr>
          <p:cNvSpPr/>
          <p:nvPr/>
        </p:nvSpPr>
        <p:spPr>
          <a:xfrm>
            <a:off x="6077608" y="2156850"/>
            <a:ext cx="45719" cy="28763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9CC45D2C-5A8B-524C-6116-54402359371E}"/>
              </a:ext>
            </a:extLst>
          </p:cNvPr>
          <p:cNvSpPr/>
          <p:nvPr/>
        </p:nvSpPr>
        <p:spPr>
          <a:xfrm>
            <a:off x="2544669" y="2135542"/>
            <a:ext cx="45719" cy="28763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7" name="bk object 66">
            <a:extLst>
              <a:ext uri="{FF2B5EF4-FFF2-40B4-BE49-F238E27FC236}">
                <a16:creationId xmlns:a16="http://schemas.microsoft.com/office/drawing/2014/main" id="{07B61816-F069-51D7-2C65-5E1302F67A62}"/>
              </a:ext>
            </a:extLst>
          </p:cNvPr>
          <p:cNvSpPr/>
          <p:nvPr/>
        </p:nvSpPr>
        <p:spPr>
          <a:xfrm>
            <a:off x="10385402" y="1925572"/>
            <a:ext cx="1217411" cy="519674"/>
          </a:xfrm>
          <a:custGeom>
            <a:avLst/>
            <a:gdLst/>
            <a:ahLst/>
            <a:cxnLst/>
            <a:rect l="l" t="t" r="r" b="b"/>
            <a:pathLst>
              <a:path w="1008380" h="706120">
                <a:moveTo>
                  <a:pt x="580326" y="0"/>
                </a:moveTo>
                <a:lnTo>
                  <a:pt x="533610" y="4533"/>
                </a:lnTo>
                <a:lnTo>
                  <a:pt x="489944" y="17557"/>
                </a:lnTo>
                <a:lnTo>
                  <a:pt x="450189" y="38209"/>
                </a:lnTo>
                <a:lnTo>
                  <a:pt x="415205" y="65628"/>
                </a:lnTo>
                <a:lnTo>
                  <a:pt x="385856" y="98951"/>
                </a:lnTo>
                <a:lnTo>
                  <a:pt x="363001" y="137315"/>
                </a:lnTo>
                <a:lnTo>
                  <a:pt x="347502" y="179858"/>
                </a:lnTo>
                <a:lnTo>
                  <a:pt x="340220" y="225717"/>
                </a:lnTo>
                <a:lnTo>
                  <a:pt x="296388" y="240223"/>
                </a:lnTo>
                <a:lnTo>
                  <a:pt x="258398" y="264913"/>
                </a:lnTo>
                <a:lnTo>
                  <a:pt x="227888" y="298156"/>
                </a:lnTo>
                <a:lnTo>
                  <a:pt x="206491" y="338319"/>
                </a:lnTo>
                <a:lnTo>
                  <a:pt x="195846" y="383768"/>
                </a:lnTo>
                <a:lnTo>
                  <a:pt x="149468" y="401168"/>
                </a:lnTo>
                <a:lnTo>
                  <a:pt x="107673" y="426516"/>
                </a:lnTo>
                <a:lnTo>
                  <a:pt x="71391" y="458883"/>
                </a:lnTo>
                <a:lnTo>
                  <a:pt x="41552" y="497341"/>
                </a:lnTo>
                <a:lnTo>
                  <a:pt x="19088" y="540964"/>
                </a:lnTo>
                <a:lnTo>
                  <a:pt x="4927" y="588823"/>
                </a:lnTo>
                <a:lnTo>
                  <a:pt x="0" y="639991"/>
                </a:lnTo>
                <a:lnTo>
                  <a:pt x="532" y="656919"/>
                </a:lnTo>
                <a:lnTo>
                  <a:pt x="2108" y="673563"/>
                </a:lnTo>
                <a:lnTo>
                  <a:pt x="4693" y="689893"/>
                </a:lnTo>
                <a:lnTo>
                  <a:pt x="8254" y="705878"/>
                </a:lnTo>
                <a:lnTo>
                  <a:pt x="969530" y="705878"/>
                </a:lnTo>
                <a:lnTo>
                  <a:pt x="993143" y="668392"/>
                </a:lnTo>
                <a:lnTo>
                  <a:pt x="1005433" y="623177"/>
                </a:lnTo>
                <a:lnTo>
                  <a:pt x="1007789" y="574574"/>
                </a:lnTo>
                <a:lnTo>
                  <a:pt x="1001598" y="526923"/>
                </a:lnTo>
                <a:lnTo>
                  <a:pt x="986650" y="474197"/>
                </a:lnTo>
                <a:lnTo>
                  <a:pt x="965950" y="428434"/>
                </a:lnTo>
                <a:lnTo>
                  <a:pt x="938788" y="389259"/>
                </a:lnTo>
                <a:lnTo>
                  <a:pt x="904459" y="356298"/>
                </a:lnTo>
                <a:lnTo>
                  <a:pt x="862254" y="329175"/>
                </a:lnTo>
                <a:lnTo>
                  <a:pt x="811466" y="307517"/>
                </a:lnTo>
                <a:lnTo>
                  <a:pt x="815536" y="291367"/>
                </a:lnTo>
                <a:lnTo>
                  <a:pt x="818510" y="274810"/>
                </a:lnTo>
                <a:lnTo>
                  <a:pt x="820333" y="257884"/>
                </a:lnTo>
                <a:lnTo>
                  <a:pt x="820953" y="240626"/>
                </a:lnTo>
                <a:lnTo>
                  <a:pt x="816065" y="192132"/>
                </a:lnTo>
                <a:lnTo>
                  <a:pt x="802045" y="146964"/>
                </a:lnTo>
                <a:lnTo>
                  <a:pt x="779860" y="106090"/>
                </a:lnTo>
                <a:lnTo>
                  <a:pt x="750479" y="70478"/>
                </a:lnTo>
                <a:lnTo>
                  <a:pt x="714868" y="41095"/>
                </a:lnTo>
                <a:lnTo>
                  <a:pt x="673993" y="18909"/>
                </a:lnTo>
                <a:lnTo>
                  <a:pt x="628824" y="4888"/>
                </a:lnTo>
                <a:lnTo>
                  <a:pt x="580326" y="0"/>
                </a:lnTo>
                <a:close/>
              </a:path>
            </a:pathLst>
          </a:custGeom>
          <a:solidFill>
            <a:srgbClr val="D3EAE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A93659-E82C-4B72-80E5-F413D318CB7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AU"/>
              <a:t> </a:t>
            </a: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BCE1F3C9-F094-49A4-BE3E-BFD4FDEF8EC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1373" y="330380"/>
            <a:ext cx="10217768" cy="381836"/>
          </a:xfrm>
          <a:prstGeom prst="rect">
            <a:avLst/>
          </a:prstGeom>
        </p:spPr>
        <p:txBody>
          <a:bodyPr vert="horz" wrap="square" lIns="0" tIns="12383" rIns="0" bIns="0" rtlCol="0" anchor="t">
            <a:spAutoFit/>
          </a:bodyPr>
          <a:lstStyle/>
          <a:p>
            <a:pPr marL="10319">
              <a:lnSpc>
                <a:spcPct val="100000"/>
              </a:lnSpc>
              <a:spcBef>
                <a:spcPts val="98"/>
              </a:spcBef>
            </a:pPr>
            <a:r>
              <a:rPr lang="en-AU" sz="2400" spc="8" dirty="0">
                <a:solidFill>
                  <a:schemeClr val="accent1"/>
                </a:solidFill>
                <a:latin typeface="Pluto Sans Bold" panose="02000000000000000000" pitchFamily="50" charset="0"/>
              </a:rPr>
              <a:t>Engaging and supporting your employees on their health</a:t>
            </a:r>
            <a:endParaRPr sz="2400" spc="8" dirty="0">
              <a:solidFill>
                <a:schemeClr val="accent1"/>
              </a:solidFill>
              <a:latin typeface="Pluto Sans Bold" panose="02000000000000000000" pitchFamily="50" charset="0"/>
            </a:endParaRPr>
          </a:p>
        </p:txBody>
      </p:sp>
      <p:sp>
        <p:nvSpPr>
          <p:cNvPr id="51" name="bk object 66">
            <a:extLst>
              <a:ext uri="{FF2B5EF4-FFF2-40B4-BE49-F238E27FC236}">
                <a16:creationId xmlns:a16="http://schemas.microsoft.com/office/drawing/2014/main" id="{7D8E697C-35A3-4D34-8C65-0DB1C54C1FF5}"/>
              </a:ext>
            </a:extLst>
          </p:cNvPr>
          <p:cNvSpPr/>
          <p:nvPr/>
        </p:nvSpPr>
        <p:spPr>
          <a:xfrm>
            <a:off x="3136689" y="1916647"/>
            <a:ext cx="1082772" cy="519674"/>
          </a:xfrm>
          <a:custGeom>
            <a:avLst/>
            <a:gdLst/>
            <a:ahLst/>
            <a:cxnLst/>
            <a:rect l="l" t="t" r="r" b="b"/>
            <a:pathLst>
              <a:path w="1008380" h="706120">
                <a:moveTo>
                  <a:pt x="580326" y="0"/>
                </a:moveTo>
                <a:lnTo>
                  <a:pt x="533610" y="4533"/>
                </a:lnTo>
                <a:lnTo>
                  <a:pt x="489944" y="17557"/>
                </a:lnTo>
                <a:lnTo>
                  <a:pt x="450189" y="38209"/>
                </a:lnTo>
                <a:lnTo>
                  <a:pt x="415205" y="65628"/>
                </a:lnTo>
                <a:lnTo>
                  <a:pt x="385856" y="98951"/>
                </a:lnTo>
                <a:lnTo>
                  <a:pt x="363001" y="137315"/>
                </a:lnTo>
                <a:lnTo>
                  <a:pt x="347502" y="179858"/>
                </a:lnTo>
                <a:lnTo>
                  <a:pt x="340220" y="225717"/>
                </a:lnTo>
                <a:lnTo>
                  <a:pt x="296388" y="240223"/>
                </a:lnTo>
                <a:lnTo>
                  <a:pt x="258398" y="264913"/>
                </a:lnTo>
                <a:lnTo>
                  <a:pt x="227888" y="298156"/>
                </a:lnTo>
                <a:lnTo>
                  <a:pt x="206491" y="338319"/>
                </a:lnTo>
                <a:lnTo>
                  <a:pt x="195846" y="383768"/>
                </a:lnTo>
                <a:lnTo>
                  <a:pt x="149468" y="401168"/>
                </a:lnTo>
                <a:lnTo>
                  <a:pt x="107673" y="426516"/>
                </a:lnTo>
                <a:lnTo>
                  <a:pt x="71391" y="458883"/>
                </a:lnTo>
                <a:lnTo>
                  <a:pt x="41552" y="497341"/>
                </a:lnTo>
                <a:lnTo>
                  <a:pt x="19088" y="540964"/>
                </a:lnTo>
                <a:lnTo>
                  <a:pt x="4927" y="588823"/>
                </a:lnTo>
                <a:lnTo>
                  <a:pt x="0" y="639991"/>
                </a:lnTo>
                <a:lnTo>
                  <a:pt x="532" y="656919"/>
                </a:lnTo>
                <a:lnTo>
                  <a:pt x="2108" y="673563"/>
                </a:lnTo>
                <a:lnTo>
                  <a:pt x="4693" y="689893"/>
                </a:lnTo>
                <a:lnTo>
                  <a:pt x="8254" y="705878"/>
                </a:lnTo>
                <a:lnTo>
                  <a:pt x="969530" y="705878"/>
                </a:lnTo>
                <a:lnTo>
                  <a:pt x="993143" y="668392"/>
                </a:lnTo>
                <a:lnTo>
                  <a:pt x="1005433" y="623177"/>
                </a:lnTo>
                <a:lnTo>
                  <a:pt x="1007789" y="574574"/>
                </a:lnTo>
                <a:lnTo>
                  <a:pt x="1001598" y="526923"/>
                </a:lnTo>
                <a:lnTo>
                  <a:pt x="986650" y="474197"/>
                </a:lnTo>
                <a:lnTo>
                  <a:pt x="965950" y="428434"/>
                </a:lnTo>
                <a:lnTo>
                  <a:pt x="938788" y="389259"/>
                </a:lnTo>
                <a:lnTo>
                  <a:pt x="904459" y="356298"/>
                </a:lnTo>
                <a:lnTo>
                  <a:pt x="862254" y="329175"/>
                </a:lnTo>
                <a:lnTo>
                  <a:pt x="811466" y="307517"/>
                </a:lnTo>
                <a:lnTo>
                  <a:pt x="815536" y="291367"/>
                </a:lnTo>
                <a:lnTo>
                  <a:pt x="818510" y="274810"/>
                </a:lnTo>
                <a:lnTo>
                  <a:pt x="820333" y="257884"/>
                </a:lnTo>
                <a:lnTo>
                  <a:pt x="820953" y="240626"/>
                </a:lnTo>
                <a:lnTo>
                  <a:pt x="816065" y="192132"/>
                </a:lnTo>
                <a:lnTo>
                  <a:pt x="802045" y="146964"/>
                </a:lnTo>
                <a:lnTo>
                  <a:pt x="779860" y="106090"/>
                </a:lnTo>
                <a:lnTo>
                  <a:pt x="750479" y="70478"/>
                </a:lnTo>
                <a:lnTo>
                  <a:pt x="714868" y="41095"/>
                </a:lnTo>
                <a:lnTo>
                  <a:pt x="673993" y="18909"/>
                </a:lnTo>
                <a:lnTo>
                  <a:pt x="628824" y="4888"/>
                </a:lnTo>
                <a:lnTo>
                  <a:pt x="580326" y="0"/>
                </a:lnTo>
                <a:close/>
              </a:path>
            </a:pathLst>
          </a:custGeom>
          <a:solidFill>
            <a:srgbClr val="D3EAE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bk object 67">
            <a:extLst>
              <a:ext uri="{FF2B5EF4-FFF2-40B4-BE49-F238E27FC236}">
                <a16:creationId xmlns:a16="http://schemas.microsoft.com/office/drawing/2014/main" id="{7EAF4810-A3F9-4D60-ADEC-71925121C558}"/>
              </a:ext>
            </a:extLst>
          </p:cNvPr>
          <p:cNvSpPr/>
          <p:nvPr/>
        </p:nvSpPr>
        <p:spPr>
          <a:xfrm>
            <a:off x="3441351" y="2159159"/>
            <a:ext cx="55815" cy="556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bk object 68">
            <a:extLst>
              <a:ext uri="{FF2B5EF4-FFF2-40B4-BE49-F238E27FC236}">
                <a16:creationId xmlns:a16="http://schemas.microsoft.com/office/drawing/2014/main" id="{C416A9D3-B172-4769-8A56-685C439A3494}"/>
              </a:ext>
            </a:extLst>
          </p:cNvPr>
          <p:cNvSpPr/>
          <p:nvPr/>
        </p:nvSpPr>
        <p:spPr>
          <a:xfrm>
            <a:off x="3590858" y="2162205"/>
            <a:ext cx="47642" cy="724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bk object 69">
            <a:extLst>
              <a:ext uri="{FF2B5EF4-FFF2-40B4-BE49-F238E27FC236}">
                <a16:creationId xmlns:a16="http://schemas.microsoft.com/office/drawing/2014/main" id="{1C74057E-2E29-40F9-AFDE-1FFBE0828CD9}"/>
              </a:ext>
            </a:extLst>
          </p:cNvPr>
          <p:cNvSpPr/>
          <p:nvPr/>
        </p:nvSpPr>
        <p:spPr>
          <a:xfrm>
            <a:off x="3647513" y="2159733"/>
            <a:ext cx="59694" cy="5159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bk object 77">
            <a:extLst>
              <a:ext uri="{FF2B5EF4-FFF2-40B4-BE49-F238E27FC236}">
                <a16:creationId xmlns:a16="http://schemas.microsoft.com/office/drawing/2014/main" id="{4AE906B9-2338-4B0B-8DC4-A6EE18002C12}"/>
              </a:ext>
            </a:extLst>
          </p:cNvPr>
          <p:cNvSpPr/>
          <p:nvPr/>
        </p:nvSpPr>
        <p:spPr>
          <a:xfrm>
            <a:off x="4066652" y="2149801"/>
            <a:ext cx="0" cy="23834"/>
          </a:xfrm>
          <a:custGeom>
            <a:avLst/>
            <a:gdLst/>
            <a:ahLst/>
            <a:cxnLst/>
            <a:rect l="l" t="t" r="r" b="b"/>
            <a:pathLst>
              <a:path h="32385">
                <a:moveTo>
                  <a:pt x="0" y="0"/>
                </a:moveTo>
                <a:lnTo>
                  <a:pt x="0" y="32346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bk object 79">
            <a:extLst>
              <a:ext uri="{FF2B5EF4-FFF2-40B4-BE49-F238E27FC236}">
                <a16:creationId xmlns:a16="http://schemas.microsoft.com/office/drawing/2014/main" id="{D1FB3D24-9A46-4919-83E1-95335FBD3D4A}"/>
              </a:ext>
            </a:extLst>
          </p:cNvPr>
          <p:cNvSpPr/>
          <p:nvPr/>
        </p:nvSpPr>
        <p:spPr>
          <a:xfrm>
            <a:off x="4080280" y="2155803"/>
            <a:ext cx="0" cy="32714"/>
          </a:xfrm>
          <a:custGeom>
            <a:avLst/>
            <a:gdLst/>
            <a:ahLst/>
            <a:cxnLst/>
            <a:rect l="l" t="t" r="r" b="b"/>
            <a:pathLst>
              <a:path h="44450">
                <a:moveTo>
                  <a:pt x="0" y="0"/>
                </a:moveTo>
                <a:lnTo>
                  <a:pt x="0" y="44323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bk object 91">
            <a:extLst>
              <a:ext uri="{FF2B5EF4-FFF2-40B4-BE49-F238E27FC236}">
                <a16:creationId xmlns:a16="http://schemas.microsoft.com/office/drawing/2014/main" id="{E63D7004-17C7-4B71-82B8-91C0AD6E78E9}"/>
              </a:ext>
            </a:extLst>
          </p:cNvPr>
          <p:cNvSpPr/>
          <p:nvPr/>
        </p:nvSpPr>
        <p:spPr>
          <a:xfrm>
            <a:off x="8275506" y="2364267"/>
            <a:ext cx="0" cy="18227"/>
          </a:xfrm>
          <a:custGeom>
            <a:avLst/>
            <a:gdLst/>
            <a:ahLst/>
            <a:cxnLst/>
            <a:rect l="l" t="t" r="r" b="b"/>
            <a:pathLst>
              <a:path h="24764">
                <a:moveTo>
                  <a:pt x="0" y="0"/>
                </a:moveTo>
                <a:lnTo>
                  <a:pt x="0" y="24345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bk object 93">
            <a:extLst>
              <a:ext uri="{FF2B5EF4-FFF2-40B4-BE49-F238E27FC236}">
                <a16:creationId xmlns:a16="http://schemas.microsoft.com/office/drawing/2014/main" id="{D14C2F4F-14D4-493B-B231-F11AF5468615}"/>
              </a:ext>
            </a:extLst>
          </p:cNvPr>
          <p:cNvSpPr/>
          <p:nvPr/>
        </p:nvSpPr>
        <p:spPr>
          <a:xfrm>
            <a:off x="8265187" y="2368785"/>
            <a:ext cx="0" cy="24770"/>
          </a:xfrm>
          <a:custGeom>
            <a:avLst/>
            <a:gdLst/>
            <a:ahLst/>
            <a:cxnLst/>
            <a:rect l="l" t="t" r="r" b="b"/>
            <a:pathLst>
              <a:path h="33654">
                <a:moveTo>
                  <a:pt x="0" y="0"/>
                </a:moveTo>
                <a:lnTo>
                  <a:pt x="0" y="33362"/>
                </a:lnTo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bk object 110">
            <a:extLst>
              <a:ext uri="{FF2B5EF4-FFF2-40B4-BE49-F238E27FC236}">
                <a16:creationId xmlns:a16="http://schemas.microsoft.com/office/drawing/2014/main" id="{ADD4F9BF-B7EB-42B5-AA59-47611F188F4F}"/>
              </a:ext>
            </a:extLst>
          </p:cNvPr>
          <p:cNvSpPr/>
          <p:nvPr/>
        </p:nvSpPr>
        <p:spPr>
          <a:xfrm>
            <a:off x="5463920" y="959183"/>
            <a:ext cx="1260000" cy="1207951"/>
          </a:xfrm>
          <a:custGeom>
            <a:avLst/>
            <a:gdLst/>
            <a:ahLst/>
            <a:cxnLst/>
            <a:rect l="l" t="t" r="r" b="b"/>
            <a:pathLst>
              <a:path w="1765300" h="2574290">
                <a:moveTo>
                  <a:pt x="1714093" y="0"/>
                </a:moveTo>
                <a:lnTo>
                  <a:pt x="51193" y="0"/>
                </a:lnTo>
                <a:lnTo>
                  <a:pt x="31316" y="4041"/>
                </a:lnTo>
                <a:lnTo>
                  <a:pt x="15038" y="15044"/>
                </a:lnTo>
                <a:lnTo>
                  <a:pt x="4039" y="31327"/>
                </a:lnTo>
                <a:lnTo>
                  <a:pt x="0" y="51206"/>
                </a:lnTo>
                <a:lnTo>
                  <a:pt x="0" y="2522994"/>
                </a:lnTo>
                <a:lnTo>
                  <a:pt x="4039" y="2542873"/>
                </a:lnTo>
                <a:lnTo>
                  <a:pt x="15038" y="2559156"/>
                </a:lnTo>
                <a:lnTo>
                  <a:pt x="31316" y="2570159"/>
                </a:lnTo>
                <a:lnTo>
                  <a:pt x="51193" y="2574201"/>
                </a:lnTo>
                <a:lnTo>
                  <a:pt x="1714093" y="2574201"/>
                </a:lnTo>
                <a:lnTo>
                  <a:pt x="1733978" y="2570159"/>
                </a:lnTo>
                <a:lnTo>
                  <a:pt x="1750260" y="2559156"/>
                </a:lnTo>
                <a:lnTo>
                  <a:pt x="1761260" y="2542873"/>
                </a:lnTo>
                <a:lnTo>
                  <a:pt x="1765300" y="2522994"/>
                </a:lnTo>
                <a:lnTo>
                  <a:pt x="1765300" y="51206"/>
                </a:lnTo>
                <a:lnTo>
                  <a:pt x="1761260" y="31327"/>
                </a:lnTo>
                <a:lnTo>
                  <a:pt x="1750260" y="15044"/>
                </a:lnTo>
                <a:lnTo>
                  <a:pt x="1733978" y="4041"/>
                </a:lnTo>
                <a:lnTo>
                  <a:pt x="1714093" y="0"/>
                </a:lnTo>
                <a:close/>
              </a:path>
            </a:pathLst>
          </a:custGeom>
          <a:solidFill>
            <a:srgbClr val="FFFFFF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2" name="object 2">
            <a:extLst>
              <a:ext uri="{FF2B5EF4-FFF2-40B4-BE49-F238E27FC236}">
                <a16:creationId xmlns:a16="http://schemas.microsoft.com/office/drawing/2014/main" id="{B7C2A292-CA52-4C99-8E03-E7EFA2ACF047}"/>
              </a:ext>
            </a:extLst>
          </p:cNvPr>
          <p:cNvSpPr txBox="1"/>
          <p:nvPr/>
        </p:nvSpPr>
        <p:spPr>
          <a:xfrm>
            <a:off x="5543977" y="1151448"/>
            <a:ext cx="940522" cy="749084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30956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8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Support for when things go wrong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Bold"/>
              <a:ea typeface="+mn-ea"/>
              <a:cs typeface="Pluto Sans Bold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3B4F455-EE61-B1A8-7A0A-5B12A6AEEE59}"/>
              </a:ext>
            </a:extLst>
          </p:cNvPr>
          <p:cNvGrpSpPr/>
          <p:nvPr/>
        </p:nvGrpSpPr>
        <p:grpSpPr>
          <a:xfrm>
            <a:off x="1941365" y="939267"/>
            <a:ext cx="1260000" cy="1207951"/>
            <a:chOff x="1375484" y="1098978"/>
            <a:chExt cx="1299185" cy="1471914"/>
          </a:xfrm>
        </p:grpSpPr>
        <p:sp>
          <p:nvSpPr>
            <p:cNvPr id="94" name="object 5">
              <a:extLst>
                <a:ext uri="{FF2B5EF4-FFF2-40B4-BE49-F238E27FC236}">
                  <a16:creationId xmlns:a16="http://schemas.microsoft.com/office/drawing/2014/main" id="{3797C5C8-AC50-4B18-971A-09B72B756835}"/>
                </a:ext>
              </a:extLst>
            </p:cNvPr>
            <p:cNvSpPr/>
            <p:nvPr/>
          </p:nvSpPr>
          <p:spPr>
            <a:xfrm>
              <a:off x="1375484" y="1098978"/>
              <a:ext cx="1299185" cy="1471914"/>
            </a:xfrm>
            <a:custGeom>
              <a:avLst/>
              <a:gdLst/>
              <a:ahLst/>
              <a:cxnLst/>
              <a:rect l="l" t="t" r="r" b="b"/>
              <a:pathLst>
                <a:path w="1765300" h="2934335">
                  <a:moveTo>
                    <a:pt x="1714093" y="0"/>
                  </a:moveTo>
                  <a:lnTo>
                    <a:pt x="51206" y="0"/>
                  </a:lnTo>
                  <a:lnTo>
                    <a:pt x="31321" y="4039"/>
                  </a:lnTo>
                  <a:lnTo>
                    <a:pt x="15039" y="15038"/>
                  </a:lnTo>
                  <a:lnTo>
                    <a:pt x="4039" y="31316"/>
                  </a:lnTo>
                  <a:lnTo>
                    <a:pt x="0" y="51193"/>
                  </a:lnTo>
                  <a:lnTo>
                    <a:pt x="0" y="2882734"/>
                  </a:lnTo>
                  <a:lnTo>
                    <a:pt x="4039" y="2902614"/>
                  </a:lnTo>
                  <a:lnTo>
                    <a:pt x="15039" y="2918896"/>
                  </a:lnTo>
                  <a:lnTo>
                    <a:pt x="31321" y="2929899"/>
                  </a:lnTo>
                  <a:lnTo>
                    <a:pt x="51206" y="2933941"/>
                  </a:lnTo>
                  <a:lnTo>
                    <a:pt x="1714093" y="2933941"/>
                  </a:lnTo>
                  <a:lnTo>
                    <a:pt x="1733978" y="2929899"/>
                  </a:lnTo>
                  <a:lnTo>
                    <a:pt x="1750260" y="2918896"/>
                  </a:lnTo>
                  <a:lnTo>
                    <a:pt x="1761260" y="2902614"/>
                  </a:lnTo>
                  <a:lnTo>
                    <a:pt x="1765300" y="2882734"/>
                  </a:lnTo>
                  <a:lnTo>
                    <a:pt x="1765300" y="51193"/>
                  </a:lnTo>
                  <a:lnTo>
                    <a:pt x="1761260" y="31316"/>
                  </a:lnTo>
                  <a:lnTo>
                    <a:pt x="1750260" y="15038"/>
                  </a:lnTo>
                  <a:lnTo>
                    <a:pt x="1733978" y="4039"/>
                  </a:lnTo>
                  <a:lnTo>
                    <a:pt x="1714093" y="0"/>
                  </a:lnTo>
                  <a:close/>
                </a:path>
              </a:pathLst>
            </a:custGeom>
            <a:solidFill>
              <a:srgbClr val="FFFFFF"/>
            </a:solidFill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63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object 6">
              <a:extLst>
                <a:ext uri="{FF2B5EF4-FFF2-40B4-BE49-F238E27FC236}">
                  <a16:creationId xmlns:a16="http://schemas.microsoft.com/office/drawing/2014/main" id="{D12A7D71-EC35-4072-8327-3D26D69CCBEA}"/>
                </a:ext>
              </a:extLst>
            </p:cNvPr>
            <p:cNvSpPr/>
            <p:nvPr/>
          </p:nvSpPr>
          <p:spPr>
            <a:xfrm>
              <a:off x="1461453" y="1270469"/>
              <a:ext cx="1018785" cy="1290791"/>
            </a:xfrm>
            <a:custGeom>
              <a:avLst/>
              <a:gdLst/>
              <a:ahLst/>
              <a:cxnLst/>
              <a:rect l="l" t="t" r="r" b="b"/>
              <a:pathLst>
                <a:path w="1384300" h="2122170">
                  <a:moveTo>
                    <a:pt x="1333093" y="0"/>
                  </a:moveTo>
                  <a:lnTo>
                    <a:pt x="51193" y="0"/>
                  </a:lnTo>
                  <a:lnTo>
                    <a:pt x="31316" y="4037"/>
                  </a:lnTo>
                  <a:lnTo>
                    <a:pt x="15038" y="15033"/>
                  </a:lnTo>
                  <a:lnTo>
                    <a:pt x="4039" y="31311"/>
                  </a:lnTo>
                  <a:lnTo>
                    <a:pt x="0" y="51193"/>
                  </a:lnTo>
                  <a:lnTo>
                    <a:pt x="0" y="2070481"/>
                  </a:lnTo>
                  <a:lnTo>
                    <a:pt x="4039" y="2090365"/>
                  </a:lnTo>
                  <a:lnTo>
                    <a:pt x="15038" y="2106647"/>
                  </a:lnTo>
                  <a:lnTo>
                    <a:pt x="31316" y="2117647"/>
                  </a:lnTo>
                  <a:lnTo>
                    <a:pt x="51193" y="2121687"/>
                  </a:lnTo>
                  <a:lnTo>
                    <a:pt x="1333093" y="2121687"/>
                  </a:lnTo>
                  <a:lnTo>
                    <a:pt x="1352972" y="2117647"/>
                  </a:lnTo>
                  <a:lnTo>
                    <a:pt x="1369255" y="2106647"/>
                  </a:lnTo>
                  <a:lnTo>
                    <a:pt x="1380258" y="2090365"/>
                  </a:lnTo>
                  <a:lnTo>
                    <a:pt x="1384300" y="2070481"/>
                  </a:lnTo>
                  <a:lnTo>
                    <a:pt x="1384300" y="51193"/>
                  </a:lnTo>
                  <a:lnTo>
                    <a:pt x="1380258" y="31311"/>
                  </a:lnTo>
                  <a:lnTo>
                    <a:pt x="1369255" y="15033"/>
                  </a:lnTo>
                  <a:lnTo>
                    <a:pt x="1352972" y="4037"/>
                  </a:lnTo>
                  <a:lnTo>
                    <a:pt x="13330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63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object 7">
              <a:extLst>
                <a:ext uri="{FF2B5EF4-FFF2-40B4-BE49-F238E27FC236}">
                  <a16:creationId xmlns:a16="http://schemas.microsoft.com/office/drawing/2014/main" id="{41B593EC-AE8A-4BC3-AB11-ADFD6942223E}"/>
                </a:ext>
              </a:extLst>
            </p:cNvPr>
            <p:cNvSpPr txBox="1"/>
            <p:nvPr/>
          </p:nvSpPr>
          <p:spPr>
            <a:xfrm>
              <a:off x="1444170" y="1357952"/>
              <a:ext cx="1106760" cy="912775"/>
            </a:xfrm>
            <a:prstGeom prst="rect">
              <a:avLst/>
            </a:prstGeom>
          </p:spPr>
          <p:txBody>
            <a:bodyPr vert="horz" wrap="square" lIns="0" tIns="10319" rIns="0" bIns="0" rtlCol="0" anchor="t">
              <a:spAutoFit/>
            </a:bodyPr>
            <a:lstStyle/>
            <a:p>
              <a:pPr marL="30956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8" normalizeH="0" baseline="0" noProof="0" dirty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Pluto Sans Bold"/>
                  <a:ea typeface="+mn-ea"/>
                  <a:cs typeface="+mn-cs"/>
                </a:rPr>
                <a:t>Supporting engagement for healthy living</a:t>
              </a:r>
              <a:endParaRPr kumimoji="0" sz="1200" b="0" i="0" u="none" strike="noStrike" kern="1200" cap="none" spc="8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+mn-cs"/>
              </a:endParaRPr>
            </a:p>
          </p:txBody>
        </p:sp>
      </p:grpSp>
      <p:sp>
        <p:nvSpPr>
          <p:cNvPr id="106" name="object 242">
            <a:extLst>
              <a:ext uri="{FF2B5EF4-FFF2-40B4-BE49-F238E27FC236}">
                <a16:creationId xmlns:a16="http://schemas.microsoft.com/office/drawing/2014/main" id="{46046E9E-0FE6-41D1-986D-A3A42B45CCE9}"/>
              </a:ext>
            </a:extLst>
          </p:cNvPr>
          <p:cNvSpPr/>
          <p:nvPr/>
        </p:nvSpPr>
        <p:spPr>
          <a:xfrm>
            <a:off x="7139574" y="948728"/>
            <a:ext cx="1260000" cy="1218406"/>
          </a:xfrm>
          <a:custGeom>
            <a:avLst/>
            <a:gdLst/>
            <a:ahLst/>
            <a:cxnLst/>
            <a:rect l="l" t="t" r="r" b="b"/>
            <a:pathLst>
              <a:path w="1765300" h="2651760">
                <a:moveTo>
                  <a:pt x="1714093" y="0"/>
                </a:moveTo>
                <a:lnTo>
                  <a:pt x="51206" y="0"/>
                </a:lnTo>
                <a:lnTo>
                  <a:pt x="31321" y="4041"/>
                </a:lnTo>
                <a:lnTo>
                  <a:pt x="15039" y="15044"/>
                </a:lnTo>
                <a:lnTo>
                  <a:pt x="4039" y="31327"/>
                </a:lnTo>
                <a:lnTo>
                  <a:pt x="0" y="51206"/>
                </a:lnTo>
                <a:lnTo>
                  <a:pt x="0" y="2600045"/>
                </a:lnTo>
                <a:lnTo>
                  <a:pt x="4039" y="2619930"/>
                </a:lnTo>
                <a:lnTo>
                  <a:pt x="15039" y="2636212"/>
                </a:lnTo>
                <a:lnTo>
                  <a:pt x="31321" y="2647212"/>
                </a:lnTo>
                <a:lnTo>
                  <a:pt x="51206" y="2651252"/>
                </a:lnTo>
                <a:lnTo>
                  <a:pt x="1714093" y="2651252"/>
                </a:lnTo>
                <a:lnTo>
                  <a:pt x="1733978" y="2647212"/>
                </a:lnTo>
                <a:lnTo>
                  <a:pt x="1750260" y="2636212"/>
                </a:lnTo>
                <a:lnTo>
                  <a:pt x="1761260" y="2619930"/>
                </a:lnTo>
                <a:lnTo>
                  <a:pt x="1765300" y="2600045"/>
                </a:lnTo>
                <a:lnTo>
                  <a:pt x="1765300" y="51206"/>
                </a:lnTo>
                <a:lnTo>
                  <a:pt x="1761260" y="31327"/>
                </a:lnTo>
                <a:lnTo>
                  <a:pt x="1750260" y="15044"/>
                </a:lnTo>
                <a:lnTo>
                  <a:pt x="1733978" y="4041"/>
                </a:lnTo>
                <a:lnTo>
                  <a:pt x="1714093" y="0"/>
                </a:lnTo>
                <a:close/>
              </a:path>
            </a:pathLst>
          </a:custGeom>
          <a:solidFill>
            <a:srgbClr val="FFFFFF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object 243">
            <a:extLst>
              <a:ext uri="{FF2B5EF4-FFF2-40B4-BE49-F238E27FC236}">
                <a16:creationId xmlns:a16="http://schemas.microsoft.com/office/drawing/2014/main" id="{79B8E886-9BA4-4E7F-A084-9F3EC097ECE7}"/>
              </a:ext>
            </a:extLst>
          </p:cNvPr>
          <p:cNvSpPr txBox="1"/>
          <p:nvPr/>
        </p:nvSpPr>
        <p:spPr>
          <a:xfrm>
            <a:off x="7248682" y="1165754"/>
            <a:ext cx="1042691" cy="749084"/>
          </a:xfrm>
          <a:prstGeom prst="rect">
            <a:avLst/>
          </a:prstGeom>
        </p:spPr>
        <p:txBody>
          <a:bodyPr vert="horz" wrap="square" lIns="0" tIns="10319" rIns="0" bIns="0" rtlCol="0" anchor="t">
            <a:spAutoFit/>
          </a:bodyPr>
          <a:lstStyle/>
          <a:p>
            <a:pPr marL="30956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8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+mn-cs"/>
              </a:rPr>
              <a:t>Support for managing illness and injuries</a:t>
            </a:r>
            <a:endParaRPr kumimoji="0" sz="1200" b="0" i="0" u="none" strike="noStrike" kern="1200" cap="none" spc="8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Bold"/>
              <a:ea typeface="+mn-ea"/>
              <a:cs typeface="+mn-cs"/>
            </a:endParaRPr>
          </a:p>
        </p:txBody>
      </p:sp>
      <p:sp>
        <p:nvSpPr>
          <p:cNvPr id="110" name="bk object 110">
            <a:extLst>
              <a:ext uri="{FF2B5EF4-FFF2-40B4-BE49-F238E27FC236}">
                <a16:creationId xmlns:a16="http://schemas.microsoft.com/office/drawing/2014/main" id="{8F531D6F-DE84-452C-888F-E77B40CEE948}"/>
              </a:ext>
            </a:extLst>
          </p:cNvPr>
          <p:cNvSpPr/>
          <p:nvPr/>
        </p:nvSpPr>
        <p:spPr>
          <a:xfrm>
            <a:off x="9708254" y="959183"/>
            <a:ext cx="1260000" cy="1200073"/>
          </a:xfrm>
          <a:custGeom>
            <a:avLst/>
            <a:gdLst/>
            <a:ahLst/>
            <a:cxnLst/>
            <a:rect l="l" t="t" r="r" b="b"/>
            <a:pathLst>
              <a:path w="1765300" h="2574290">
                <a:moveTo>
                  <a:pt x="1714093" y="0"/>
                </a:moveTo>
                <a:lnTo>
                  <a:pt x="51193" y="0"/>
                </a:lnTo>
                <a:lnTo>
                  <a:pt x="31316" y="4041"/>
                </a:lnTo>
                <a:lnTo>
                  <a:pt x="15038" y="15044"/>
                </a:lnTo>
                <a:lnTo>
                  <a:pt x="4039" y="31327"/>
                </a:lnTo>
                <a:lnTo>
                  <a:pt x="0" y="51206"/>
                </a:lnTo>
                <a:lnTo>
                  <a:pt x="0" y="2522994"/>
                </a:lnTo>
                <a:lnTo>
                  <a:pt x="4039" y="2542873"/>
                </a:lnTo>
                <a:lnTo>
                  <a:pt x="15038" y="2559156"/>
                </a:lnTo>
                <a:lnTo>
                  <a:pt x="31316" y="2570159"/>
                </a:lnTo>
                <a:lnTo>
                  <a:pt x="51193" y="2574201"/>
                </a:lnTo>
                <a:lnTo>
                  <a:pt x="1714093" y="2574201"/>
                </a:lnTo>
                <a:lnTo>
                  <a:pt x="1733978" y="2570159"/>
                </a:lnTo>
                <a:lnTo>
                  <a:pt x="1750260" y="2559156"/>
                </a:lnTo>
                <a:lnTo>
                  <a:pt x="1761260" y="2542873"/>
                </a:lnTo>
                <a:lnTo>
                  <a:pt x="1765300" y="2522994"/>
                </a:lnTo>
                <a:lnTo>
                  <a:pt x="1765300" y="51206"/>
                </a:lnTo>
                <a:lnTo>
                  <a:pt x="1761260" y="31327"/>
                </a:lnTo>
                <a:lnTo>
                  <a:pt x="1750260" y="15044"/>
                </a:lnTo>
                <a:lnTo>
                  <a:pt x="1733978" y="4041"/>
                </a:lnTo>
                <a:lnTo>
                  <a:pt x="1714093" y="0"/>
                </a:lnTo>
                <a:close/>
              </a:path>
            </a:pathLst>
          </a:custGeom>
          <a:solidFill>
            <a:srgbClr val="FFFFFF"/>
          </a:solidFill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object 280">
            <a:extLst>
              <a:ext uri="{FF2B5EF4-FFF2-40B4-BE49-F238E27FC236}">
                <a16:creationId xmlns:a16="http://schemas.microsoft.com/office/drawing/2014/main" id="{13F6C0F6-08B8-4E41-A412-293F28763698}"/>
              </a:ext>
            </a:extLst>
          </p:cNvPr>
          <p:cNvSpPr txBox="1"/>
          <p:nvPr/>
        </p:nvSpPr>
        <p:spPr>
          <a:xfrm>
            <a:off x="9782731" y="1181313"/>
            <a:ext cx="1111046" cy="933749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30956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0" u="none" strike="noStrike" kern="1200" cap="none" spc="8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+mn-cs"/>
              </a:rPr>
              <a:t>Support to empower recovery and return to work</a:t>
            </a:r>
            <a:endParaRPr kumimoji="0" sz="1200" b="0" i="0" u="none" strike="noStrike" kern="1200" cap="none" spc="8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Bold"/>
              <a:ea typeface="+mn-ea"/>
              <a:cs typeface="+mn-cs"/>
            </a:endParaRPr>
          </a:p>
        </p:txBody>
      </p:sp>
      <p:sp>
        <p:nvSpPr>
          <p:cNvPr id="112" name="object 69">
            <a:extLst>
              <a:ext uri="{FF2B5EF4-FFF2-40B4-BE49-F238E27FC236}">
                <a16:creationId xmlns:a16="http://schemas.microsoft.com/office/drawing/2014/main" id="{F811BEA8-DAF7-4744-B5F5-F558C39A2B4B}"/>
              </a:ext>
            </a:extLst>
          </p:cNvPr>
          <p:cNvSpPr>
            <a:spLocks noChangeAspect="1"/>
          </p:cNvSpPr>
          <p:nvPr/>
        </p:nvSpPr>
        <p:spPr>
          <a:xfrm>
            <a:off x="11274295" y="1065170"/>
            <a:ext cx="520400" cy="160307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object 293">
            <a:extLst>
              <a:ext uri="{FF2B5EF4-FFF2-40B4-BE49-F238E27FC236}">
                <a16:creationId xmlns:a16="http://schemas.microsoft.com/office/drawing/2014/main" id="{C9639CEB-6A76-41CB-A6CD-26BF62D696B6}"/>
              </a:ext>
            </a:extLst>
          </p:cNvPr>
          <p:cNvSpPr>
            <a:spLocks noChangeAspect="1"/>
          </p:cNvSpPr>
          <p:nvPr/>
        </p:nvSpPr>
        <p:spPr>
          <a:xfrm>
            <a:off x="6484499" y="1160328"/>
            <a:ext cx="485933" cy="149254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llout: Down Arrow 6">
            <a:extLst>
              <a:ext uri="{FF2B5EF4-FFF2-40B4-BE49-F238E27FC236}">
                <a16:creationId xmlns:a16="http://schemas.microsoft.com/office/drawing/2014/main" id="{8D0B4D94-5740-B4B6-9DDA-E58F7FBA65DE}"/>
              </a:ext>
            </a:extLst>
          </p:cNvPr>
          <p:cNvSpPr/>
          <p:nvPr/>
        </p:nvSpPr>
        <p:spPr>
          <a:xfrm>
            <a:off x="160723" y="3967345"/>
            <a:ext cx="1584000" cy="900000"/>
          </a:xfrm>
          <a:prstGeom prst="downArrowCallou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bIns="180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Be informed</a:t>
            </a:r>
          </a:p>
        </p:txBody>
      </p:sp>
      <p:sp>
        <p:nvSpPr>
          <p:cNvPr id="237" name="Graphic 637">
            <a:extLst>
              <a:ext uri="{FF2B5EF4-FFF2-40B4-BE49-F238E27FC236}">
                <a16:creationId xmlns:a16="http://schemas.microsoft.com/office/drawing/2014/main" id="{249DECF0-6698-EC70-E5A1-2E130B522BCE}"/>
              </a:ext>
            </a:extLst>
          </p:cNvPr>
          <p:cNvSpPr/>
          <p:nvPr/>
        </p:nvSpPr>
        <p:spPr>
          <a:xfrm>
            <a:off x="1954826" y="4802974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9" name="object 262">
            <a:extLst>
              <a:ext uri="{FF2B5EF4-FFF2-40B4-BE49-F238E27FC236}">
                <a16:creationId xmlns:a16="http://schemas.microsoft.com/office/drawing/2014/main" id="{104660A4-153D-9A6D-91EA-B7C7E1BEFD0D}"/>
              </a:ext>
            </a:extLst>
          </p:cNvPr>
          <p:cNvSpPr txBox="1"/>
          <p:nvPr/>
        </p:nvSpPr>
        <p:spPr>
          <a:xfrm>
            <a:off x="1967082" y="5132750"/>
            <a:ext cx="1377800" cy="697506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ACCESS TO RELEVANT SERVICES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Needs-based access to services including psychologist appointments for mental health support</a:t>
            </a:r>
          </a:p>
        </p:txBody>
      </p:sp>
      <p:sp>
        <p:nvSpPr>
          <p:cNvPr id="248" name="Graphic 637">
            <a:extLst>
              <a:ext uri="{FF2B5EF4-FFF2-40B4-BE49-F238E27FC236}">
                <a16:creationId xmlns:a16="http://schemas.microsoft.com/office/drawing/2014/main" id="{E1A34ADA-07AA-6444-C046-5AB7DBDC724F}"/>
              </a:ext>
            </a:extLst>
          </p:cNvPr>
          <p:cNvSpPr/>
          <p:nvPr/>
        </p:nvSpPr>
        <p:spPr>
          <a:xfrm>
            <a:off x="1954826" y="3845208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object 262">
            <a:extLst>
              <a:ext uri="{FF2B5EF4-FFF2-40B4-BE49-F238E27FC236}">
                <a16:creationId xmlns:a16="http://schemas.microsoft.com/office/drawing/2014/main" id="{849AA740-5395-7667-325F-33B8FC077339}"/>
              </a:ext>
            </a:extLst>
          </p:cNvPr>
          <p:cNvSpPr txBox="1"/>
          <p:nvPr/>
        </p:nvSpPr>
        <p:spPr>
          <a:xfrm>
            <a:off x="1953480" y="4138567"/>
            <a:ext cx="1391402" cy="589784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HEALTH SCREENING             TOOLS &amp; CONTENT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Health screening tools and holistic content  to encourage health engagement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C6D40C0-C7DE-0F3B-5334-692D1D65DE3B}"/>
              </a:ext>
            </a:extLst>
          </p:cNvPr>
          <p:cNvCxnSpPr>
            <a:cxnSpLocks/>
          </p:cNvCxnSpPr>
          <p:nvPr/>
        </p:nvCxnSpPr>
        <p:spPr>
          <a:xfrm>
            <a:off x="6904029" y="3780383"/>
            <a:ext cx="0" cy="2201563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54412CA6-4BF5-E8FE-83A3-E55E1333369F}"/>
              </a:ext>
            </a:extLst>
          </p:cNvPr>
          <p:cNvCxnSpPr/>
          <p:nvPr/>
        </p:nvCxnSpPr>
        <p:spPr>
          <a:xfrm>
            <a:off x="6911748" y="4265623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object 262">
            <a:extLst>
              <a:ext uri="{FF2B5EF4-FFF2-40B4-BE49-F238E27FC236}">
                <a16:creationId xmlns:a16="http://schemas.microsoft.com/office/drawing/2014/main" id="{ACEB2FFD-8E09-CCB7-B96C-127BEB5609DD}"/>
              </a:ext>
            </a:extLst>
          </p:cNvPr>
          <p:cNvSpPr txBox="1"/>
          <p:nvPr/>
        </p:nvSpPr>
        <p:spPr>
          <a:xfrm>
            <a:off x="7058888" y="4192459"/>
            <a:ext cx="1437703" cy="482062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HEALTH DIRECTORY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Directory of free and low-cost, community resources through TAL Health Connector</a:t>
            </a:r>
          </a:p>
        </p:txBody>
      </p:sp>
      <p:sp>
        <p:nvSpPr>
          <p:cNvPr id="179" name="Graphic 519">
            <a:extLst>
              <a:ext uri="{FF2B5EF4-FFF2-40B4-BE49-F238E27FC236}">
                <a16:creationId xmlns:a16="http://schemas.microsoft.com/office/drawing/2014/main" id="{560315BE-35FE-E8FA-5833-F9385F171B1C}"/>
              </a:ext>
            </a:extLst>
          </p:cNvPr>
          <p:cNvSpPr/>
          <p:nvPr/>
        </p:nvSpPr>
        <p:spPr>
          <a:xfrm>
            <a:off x="7074701" y="3973948"/>
            <a:ext cx="247189" cy="181583"/>
          </a:xfrm>
          <a:custGeom>
            <a:avLst/>
            <a:gdLst>
              <a:gd name="connsiteX0" fmla="*/ 311660 w 316231"/>
              <a:gd name="connsiteY0" fmla="*/ 189310 h 232301"/>
              <a:gd name="connsiteX1" fmla="*/ 300702 w 316231"/>
              <a:gd name="connsiteY1" fmla="*/ 182216 h 232301"/>
              <a:gd name="connsiteX2" fmla="*/ 300702 w 316231"/>
              <a:gd name="connsiteY2" fmla="*/ 20892 h 232301"/>
              <a:gd name="connsiteX3" fmla="*/ 279811 w 316231"/>
              <a:gd name="connsiteY3" fmla="*/ 0 h 232301"/>
              <a:gd name="connsiteX4" fmla="*/ 36421 w 316231"/>
              <a:gd name="connsiteY4" fmla="*/ 0 h 232301"/>
              <a:gd name="connsiteX5" fmla="*/ 15529 w 316231"/>
              <a:gd name="connsiteY5" fmla="*/ 20892 h 232301"/>
              <a:gd name="connsiteX6" fmla="*/ 15529 w 316231"/>
              <a:gd name="connsiteY6" fmla="*/ 182216 h 232301"/>
              <a:gd name="connsiteX7" fmla="*/ 4572 w 316231"/>
              <a:gd name="connsiteY7" fmla="*/ 189310 h 232301"/>
              <a:gd name="connsiteX8" fmla="*/ 525 w 316231"/>
              <a:gd name="connsiteY8" fmla="*/ 206964 h 232301"/>
              <a:gd name="connsiteX9" fmla="*/ 2581 w 316231"/>
              <a:gd name="connsiteY9" fmla="*/ 216033 h 232301"/>
              <a:gd name="connsiteX10" fmla="*/ 22952 w 316231"/>
              <a:gd name="connsiteY10" fmla="*/ 232302 h 232301"/>
              <a:gd name="connsiteX11" fmla="*/ 293271 w 316231"/>
              <a:gd name="connsiteY11" fmla="*/ 232302 h 232301"/>
              <a:gd name="connsiteX12" fmla="*/ 313650 w 316231"/>
              <a:gd name="connsiteY12" fmla="*/ 216033 h 232301"/>
              <a:gd name="connsiteX13" fmla="*/ 315706 w 316231"/>
              <a:gd name="connsiteY13" fmla="*/ 206964 h 232301"/>
              <a:gd name="connsiteX14" fmla="*/ 311660 w 316231"/>
              <a:gd name="connsiteY14" fmla="*/ 189310 h 232301"/>
              <a:gd name="connsiteX15" fmla="*/ 26952 w 316231"/>
              <a:gd name="connsiteY15" fmla="*/ 20892 h 232301"/>
              <a:gd name="connsiteX16" fmla="*/ 36421 w 316231"/>
              <a:gd name="connsiteY16" fmla="*/ 11423 h 232301"/>
              <a:gd name="connsiteX17" fmla="*/ 279811 w 316231"/>
              <a:gd name="connsiteY17" fmla="*/ 11423 h 232301"/>
              <a:gd name="connsiteX18" fmla="*/ 289280 w 316231"/>
              <a:gd name="connsiteY18" fmla="*/ 20892 h 232301"/>
              <a:gd name="connsiteX19" fmla="*/ 289280 w 316231"/>
              <a:gd name="connsiteY19" fmla="*/ 181450 h 232301"/>
              <a:gd name="connsiteX20" fmla="*/ 270220 w 316231"/>
              <a:gd name="connsiteY20" fmla="*/ 181450 h 232301"/>
              <a:gd name="connsiteX21" fmla="*/ 270220 w 316231"/>
              <a:gd name="connsiteY21" fmla="*/ 36602 h 232301"/>
              <a:gd name="connsiteX22" fmla="*/ 264509 w 316231"/>
              <a:gd name="connsiteY22" fmla="*/ 30891 h 232301"/>
              <a:gd name="connsiteX23" fmla="*/ 52634 w 316231"/>
              <a:gd name="connsiteY23" fmla="*/ 30891 h 232301"/>
              <a:gd name="connsiteX24" fmla="*/ 46923 w 316231"/>
              <a:gd name="connsiteY24" fmla="*/ 36602 h 232301"/>
              <a:gd name="connsiteX25" fmla="*/ 46923 w 316231"/>
              <a:gd name="connsiteY25" fmla="*/ 181450 h 232301"/>
              <a:gd name="connsiteX26" fmla="*/ 26952 w 316231"/>
              <a:gd name="connsiteY26" fmla="*/ 181450 h 232301"/>
              <a:gd name="connsiteX27" fmla="*/ 26952 w 316231"/>
              <a:gd name="connsiteY27" fmla="*/ 20892 h 232301"/>
              <a:gd name="connsiteX28" fmla="*/ 258798 w 316231"/>
              <a:gd name="connsiteY28" fmla="*/ 42313 h 232301"/>
              <a:gd name="connsiteX29" fmla="*/ 258798 w 316231"/>
              <a:gd name="connsiteY29" fmla="*/ 181450 h 232301"/>
              <a:gd name="connsiteX30" fmla="*/ 58345 w 316231"/>
              <a:gd name="connsiteY30" fmla="*/ 181450 h 232301"/>
              <a:gd name="connsiteX31" fmla="*/ 58345 w 316231"/>
              <a:gd name="connsiteY31" fmla="*/ 42313 h 232301"/>
              <a:gd name="connsiteX32" fmla="*/ 258798 w 316231"/>
              <a:gd name="connsiteY32" fmla="*/ 42313 h 232301"/>
              <a:gd name="connsiteX33" fmla="*/ 304563 w 316231"/>
              <a:gd name="connsiteY33" fmla="*/ 204435 h 232301"/>
              <a:gd name="connsiteX34" fmla="*/ 302507 w 316231"/>
              <a:gd name="connsiteY34" fmla="*/ 213503 h 232301"/>
              <a:gd name="connsiteX35" fmla="*/ 293271 w 316231"/>
              <a:gd name="connsiteY35" fmla="*/ 220879 h 232301"/>
              <a:gd name="connsiteX36" fmla="*/ 22952 w 316231"/>
              <a:gd name="connsiteY36" fmla="*/ 220879 h 232301"/>
              <a:gd name="connsiteX37" fmla="*/ 13725 w 316231"/>
              <a:gd name="connsiteY37" fmla="*/ 213503 h 232301"/>
              <a:gd name="connsiteX38" fmla="*/ 11669 w 316231"/>
              <a:gd name="connsiteY38" fmla="*/ 204435 h 232301"/>
              <a:gd name="connsiteX39" fmla="*/ 13501 w 316231"/>
              <a:gd name="connsiteY39" fmla="*/ 196434 h 232301"/>
              <a:gd name="connsiteX40" fmla="*/ 20906 w 316231"/>
              <a:gd name="connsiteY40" fmla="*/ 192872 h 232301"/>
              <a:gd name="connsiteX41" fmla="*/ 295326 w 316231"/>
              <a:gd name="connsiteY41" fmla="*/ 192872 h 232301"/>
              <a:gd name="connsiteX42" fmla="*/ 302730 w 316231"/>
              <a:gd name="connsiteY42" fmla="*/ 196434 h 232301"/>
              <a:gd name="connsiteX43" fmla="*/ 304563 w 316231"/>
              <a:gd name="connsiteY43" fmla="*/ 204435 h 23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16231" h="232301">
                <a:moveTo>
                  <a:pt x="311660" y="189310"/>
                </a:moveTo>
                <a:cubicBezTo>
                  <a:pt x="308831" y="185759"/>
                  <a:pt x="304976" y="183351"/>
                  <a:pt x="300702" y="182216"/>
                </a:cubicBezTo>
                <a:lnTo>
                  <a:pt x="300702" y="20892"/>
                </a:lnTo>
                <a:cubicBezTo>
                  <a:pt x="300702" y="9367"/>
                  <a:pt x="291335" y="0"/>
                  <a:pt x="279811" y="0"/>
                </a:cubicBezTo>
                <a:lnTo>
                  <a:pt x="36421" y="0"/>
                </a:lnTo>
                <a:cubicBezTo>
                  <a:pt x="24896" y="0"/>
                  <a:pt x="15529" y="9367"/>
                  <a:pt x="15529" y="20892"/>
                </a:cubicBezTo>
                <a:lnTo>
                  <a:pt x="15529" y="182216"/>
                </a:lnTo>
                <a:cubicBezTo>
                  <a:pt x="11256" y="183351"/>
                  <a:pt x="7401" y="185759"/>
                  <a:pt x="4572" y="189310"/>
                </a:cubicBezTo>
                <a:cubicBezTo>
                  <a:pt x="581" y="194295"/>
                  <a:pt x="-888" y="200732"/>
                  <a:pt x="525" y="206964"/>
                </a:cubicBezTo>
                <a:lnTo>
                  <a:pt x="2581" y="216033"/>
                </a:lnTo>
                <a:cubicBezTo>
                  <a:pt x="4748" y="225614"/>
                  <a:pt x="13120" y="232302"/>
                  <a:pt x="22952" y="232302"/>
                </a:cubicBezTo>
                <a:lnTo>
                  <a:pt x="293271" y="232302"/>
                </a:lnTo>
                <a:cubicBezTo>
                  <a:pt x="303102" y="232302"/>
                  <a:pt x="311484" y="225614"/>
                  <a:pt x="313650" y="216033"/>
                </a:cubicBezTo>
                <a:lnTo>
                  <a:pt x="315706" y="206964"/>
                </a:lnTo>
                <a:cubicBezTo>
                  <a:pt x="317120" y="200732"/>
                  <a:pt x="315651" y="194295"/>
                  <a:pt x="311660" y="189310"/>
                </a:cubicBezTo>
                <a:close/>
                <a:moveTo>
                  <a:pt x="26952" y="20892"/>
                </a:moveTo>
                <a:cubicBezTo>
                  <a:pt x="26952" y="15673"/>
                  <a:pt x="31203" y="11423"/>
                  <a:pt x="36421" y="11423"/>
                </a:cubicBezTo>
                <a:lnTo>
                  <a:pt x="279811" y="11423"/>
                </a:lnTo>
                <a:cubicBezTo>
                  <a:pt x="285029" y="11423"/>
                  <a:pt x="289280" y="15673"/>
                  <a:pt x="289280" y="20892"/>
                </a:cubicBezTo>
                <a:lnTo>
                  <a:pt x="289280" y="181450"/>
                </a:lnTo>
                <a:lnTo>
                  <a:pt x="270220" y="181450"/>
                </a:lnTo>
                <a:lnTo>
                  <a:pt x="270220" y="36602"/>
                </a:lnTo>
                <a:cubicBezTo>
                  <a:pt x="270220" y="33449"/>
                  <a:pt x="267663" y="30891"/>
                  <a:pt x="264509" y="30891"/>
                </a:cubicBezTo>
                <a:lnTo>
                  <a:pt x="52634" y="30891"/>
                </a:lnTo>
                <a:cubicBezTo>
                  <a:pt x="49481" y="30891"/>
                  <a:pt x="46923" y="33449"/>
                  <a:pt x="46923" y="36602"/>
                </a:cubicBezTo>
                <a:lnTo>
                  <a:pt x="46923" y="181450"/>
                </a:lnTo>
                <a:lnTo>
                  <a:pt x="26952" y="181450"/>
                </a:lnTo>
                <a:lnTo>
                  <a:pt x="26952" y="20892"/>
                </a:lnTo>
                <a:close/>
                <a:moveTo>
                  <a:pt x="258798" y="42313"/>
                </a:moveTo>
                <a:lnTo>
                  <a:pt x="258798" y="181450"/>
                </a:lnTo>
                <a:lnTo>
                  <a:pt x="58345" y="181450"/>
                </a:lnTo>
                <a:lnTo>
                  <a:pt x="58345" y="42313"/>
                </a:lnTo>
                <a:lnTo>
                  <a:pt x="258798" y="42313"/>
                </a:lnTo>
                <a:close/>
                <a:moveTo>
                  <a:pt x="304563" y="204435"/>
                </a:moveTo>
                <a:lnTo>
                  <a:pt x="302507" y="213503"/>
                </a:lnTo>
                <a:cubicBezTo>
                  <a:pt x="301521" y="217848"/>
                  <a:pt x="297726" y="220879"/>
                  <a:pt x="293271" y="220879"/>
                </a:cubicBezTo>
                <a:lnTo>
                  <a:pt x="22952" y="220879"/>
                </a:lnTo>
                <a:cubicBezTo>
                  <a:pt x="18506" y="220879"/>
                  <a:pt x="14711" y="217848"/>
                  <a:pt x="13725" y="213503"/>
                </a:cubicBezTo>
                <a:lnTo>
                  <a:pt x="11669" y="204435"/>
                </a:lnTo>
                <a:cubicBezTo>
                  <a:pt x="11027" y="201616"/>
                  <a:pt x="11697" y="198695"/>
                  <a:pt x="13501" y="196434"/>
                </a:cubicBezTo>
                <a:cubicBezTo>
                  <a:pt x="15306" y="194174"/>
                  <a:pt x="18003" y="192872"/>
                  <a:pt x="20906" y="192872"/>
                </a:cubicBezTo>
                <a:lnTo>
                  <a:pt x="295326" y="192872"/>
                </a:lnTo>
                <a:cubicBezTo>
                  <a:pt x="298229" y="192872"/>
                  <a:pt x="300926" y="194174"/>
                  <a:pt x="302730" y="196434"/>
                </a:cubicBezTo>
                <a:cubicBezTo>
                  <a:pt x="304535" y="198695"/>
                  <a:pt x="305205" y="201616"/>
                  <a:pt x="304563" y="204435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Graphic 637">
            <a:extLst>
              <a:ext uri="{FF2B5EF4-FFF2-40B4-BE49-F238E27FC236}">
                <a16:creationId xmlns:a16="http://schemas.microsoft.com/office/drawing/2014/main" id="{842B0FDD-D05D-D857-4832-EE2948D2C8A2}"/>
              </a:ext>
            </a:extLst>
          </p:cNvPr>
          <p:cNvSpPr/>
          <p:nvPr/>
        </p:nvSpPr>
        <p:spPr>
          <a:xfrm>
            <a:off x="7078888" y="4761202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object 262">
            <a:extLst>
              <a:ext uri="{FF2B5EF4-FFF2-40B4-BE49-F238E27FC236}">
                <a16:creationId xmlns:a16="http://schemas.microsoft.com/office/drawing/2014/main" id="{A7C1F66E-9151-6625-3D33-141C80CA4AC5}"/>
              </a:ext>
            </a:extLst>
          </p:cNvPr>
          <p:cNvSpPr txBox="1"/>
          <p:nvPr/>
        </p:nvSpPr>
        <p:spPr>
          <a:xfrm>
            <a:off x="7091143" y="5076689"/>
            <a:ext cx="1423253" cy="374340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GRIEF SUPPORT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Phone-based support for members and their families</a:t>
            </a:r>
          </a:p>
        </p:txBody>
      </p: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852E6B1E-DB61-CF26-C241-6D4300B46EA6}"/>
              </a:ext>
            </a:extLst>
          </p:cNvPr>
          <p:cNvCxnSpPr/>
          <p:nvPr/>
        </p:nvCxnSpPr>
        <p:spPr>
          <a:xfrm>
            <a:off x="6911748" y="5129785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Graphic 637">
            <a:extLst>
              <a:ext uri="{FF2B5EF4-FFF2-40B4-BE49-F238E27FC236}">
                <a16:creationId xmlns:a16="http://schemas.microsoft.com/office/drawing/2014/main" id="{05F251DE-19D4-AE45-888E-0097CF03158A}"/>
              </a:ext>
            </a:extLst>
          </p:cNvPr>
          <p:cNvSpPr/>
          <p:nvPr/>
        </p:nvSpPr>
        <p:spPr>
          <a:xfrm>
            <a:off x="7078888" y="5575544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object 262">
            <a:extLst>
              <a:ext uri="{FF2B5EF4-FFF2-40B4-BE49-F238E27FC236}">
                <a16:creationId xmlns:a16="http://schemas.microsoft.com/office/drawing/2014/main" id="{F58161F5-AB68-AAC6-5E9C-1C6BF10315AA}"/>
              </a:ext>
            </a:extLst>
          </p:cNvPr>
          <p:cNvSpPr txBox="1"/>
          <p:nvPr/>
        </p:nvSpPr>
        <p:spPr>
          <a:xfrm>
            <a:off x="7091143" y="5895794"/>
            <a:ext cx="1468886" cy="374340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CARER SUPPORT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Access to education and support for a member’s carer</a:t>
            </a: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4E0792DB-8EC0-E8C3-8392-2EE942C41AE8}"/>
              </a:ext>
            </a:extLst>
          </p:cNvPr>
          <p:cNvCxnSpPr/>
          <p:nvPr/>
        </p:nvCxnSpPr>
        <p:spPr>
          <a:xfrm>
            <a:off x="6911748" y="5981946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Graphic 637">
            <a:extLst>
              <a:ext uri="{FF2B5EF4-FFF2-40B4-BE49-F238E27FC236}">
                <a16:creationId xmlns:a16="http://schemas.microsoft.com/office/drawing/2014/main" id="{48A31032-62A9-07FE-BBE1-F237A76EC28C}"/>
              </a:ext>
            </a:extLst>
          </p:cNvPr>
          <p:cNvSpPr/>
          <p:nvPr/>
        </p:nvSpPr>
        <p:spPr>
          <a:xfrm>
            <a:off x="8865139" y="3865205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1" name="Graphic 637">
            <a:extLst>
              <a:ext uri="{FF2B5EF4-FFF2-40B4-BE49-F238E27FC236}">
                <a16:creationId xmlns:a16="http://schemas.microsoft.com/office/drawing/2014/main" id="{88E81FFD-6FCF-F5DB-10DE-E7D9195F4108}"/>
              </a:ext>
            </a:extLst>
          </p:cNvPr>
          <p:cNvSpPr/>
          <p:nvPr/>
        </p:nvSpPr>
        <p:spPr>
          <a:xfrm>
            <a:off x="8878802" y="4426310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2" name="Graphic 637">
            <a:extLst>
              <a:ext uri="{FF2B5EF4-FFF2-40B4-BE49-F238E27FC236}">
                <a16:creationId xmlns:a16="http://schemas.microsoft.com/office/drawing/2014/main" id="{B332FBAF-0306-33C7-B4C6-1B2E10D6538A}"/>
              </a:ext>
            </a:extLst>
          </p:cNvPr>
          <p:cNvSpPr/>
          <p:nvPr/>
        </p:nvSpPr>
        <p:spPr>
          <a:xfrm>
            <a:off x="8879184" y="4992470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id="{0D9C7FCF-8560-519B-3EB3-3708725143A9}"/>
              </a:ext>
            </a:extLst>
          </p:cNvPr>
          <p:cNvCxnSpPr>
            <a:cxnSpLocks/>
          </p:cNvCxnSpPr>
          <p:nvPr/>
        </p:nvCxnSpPr>
        <p:spPr>
          <a:xfrm>
            <a:off x="8727475" y="4240821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>
            <a:extLst>
              <a:ext uri="{FF2B5EF4-FFF2-40B4-BE49-F238E27FC236}">
                <a16:creationId xmlns:a16="http://schemas.microsoft.com/office/drawing/2014/main" id="{FA168059-1321-D139-49E2-B5039030A8C0}"/>
              </a:ext>
            </a:extLst>
          </p:cNvPr>
          <p:cNvCxnSpPr>
            <a:cxnSpLocks/>
          </p:cNvCxnSpPr>
          <p:nvPr/>
        </p:nvCxnSpPr>
        <p:spPr>
          <a:xfrm>
            <a:off x="8727475" y="4827919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E174215D-D3DA-E044-66BA-2921C88849CC}"/>
              </a:ext>
            </a:extLst>
          </p:cNvPr>
          <p:cNvCxnSpPr>
            <a:cxnSpLocks/>
          </p:cNvCxnSpPr>
          <p:nvPr/>
        </p:nvCxnSpPr>
        <p:spPr>
          <a:xfrm>
            <a:off x="8727475" y="5349756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object 262">
            <a:extLst>
              <a:ext uri="{FF2B5EF4-FFF2-40B4-BE49-F238E27FC236}">
                <a16:creationId xmlns:a16="http://schemas.microsoft.com/office/drawing/2014/main" id="{8009043D-77FA-F4B3-92B0-867AD0A1E220}"/>
              </a:ext>
            </a:extLst>
          </p:cNvPr>
          <p:cNvSpPr txBox="1"/>
          <p:nvPr/>
        </p:nvSpPr>
        <p:spPr>
          <a:xfrm>
            <a:off x="8905255" y="4180502"/>
            <a:ext cx="1437703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CAREER COACHING</a:t>
            </a:r>
          </a:p>
        </p:txBody>
      </p:sp>
      <p:sp>
        <p:nvSpPr>
          <p:cNvPr id="309" name="object 262">
            <a:extLst>
              <a:ext uri="{FF2B5EF4-FFF2-40B4-BE49-F238E27FC236}">
                <a16:creationId xmlns:a16="http://schemas.microsoft.com/office/drawing/2014/main" id="{9B0614D4-1FDD-5A84-441A-E593463616AA}"/>
              </a:ext>
            </a:extLst>
          </p:cNvPr>
          <p:cNvSpPr txBox="1"/>
          <p:nvPr/>
        </p:nvSpPr>
        <p:spPr>
          <a:xfrm>
            <a:off x="8918918" y="4741607"/>
            <a:ext cx="1437703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BUSINESS COACHING</a:t>
            </a:r>
          </a:p>
        </p:txBody>
      </p:sp>
      <p:sp>
        <p:nvSpPr>
          <p:cNvPr id="310" name="object 262">
            <a:extLst>
              <a:ext uri="{FF2B5EF4-FFF2-40B4-BE49-F238E27FC236}">
                <a16:creationId xmlns:a16="http://schemas.microsoft.com/office/drawing/2014/main" id="{A98A7C2B-0F8B-E944-926E-BF167A69F623}"/>
              </a:ext>
            </a:extLst>
          </p:cNvPr>
          <p:cNvSpPr txBox="1"/>
          <p:nvPr/>
        </p:nvSpPr>
        <p:spPr>
          <a:xfrm>
            <a:off x="8919300" y="5307767"/>
            <a:ext cx="1437703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RETURN-TO-WORK COACHING</a:t>
            </a:r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FC0C7A19-22B7-D338-E1C7-4D66612B2682}"/>
              </a:ext>
            </a:extLst>
          </p:cNvPr>
          <p:cNvSpPr/>
          <p:nvPr/>
        </p:nvSpPr>
        <p:spPr>
          <a:xfrm>
            <a:off x="6009024" y="2388984"/>
            <a:ext cx="195016" cy="19501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368DAABD-9DD6-DE56-FDB9-B33B28D2862E}"/>
              </a:ext>
            </a:extLst>
          </p:cNvPr>
          <p:cNvSpPr/>
          <p:nvPr/>
        </p:nvSpPr>
        <p:spPr>
          <a:xfrm>
            <a:off x="7653668" y="2367516"/>
            <a:ext cx="195016" cy="19501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7" name="Oval 336">
            <a:extLst>
              <a:ext uri="{FF2B5EF4-FFF2-40B4-BE49-F238E27FC236}">
                <a16:creationId xmlns:a16="http://schemas.microsoft.com/office/drawing/2014/main" id="{0086A3A6-4F12-2E02-9851-1FC52221D99E}"/>
              </a:ext>
            </a:extLst>
          </p:cNvPr>
          <p:cNvSpPr/>
          <p:nvPr/>
        </p:nvSpPr>
        <p:spPr>
          <a:xfrm>
            <a:off x="10240746" y="2381576"/>
            <a:ext cx="195016" cy="19501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Graphic 637">
            <a:extLst>
              <a:ext uri="{FF2B5EF4-FFF2-40B4-BE49-F238E27FC236}">
                <a16:creationId xmlns:a16="http://schemas.microsoft.com/office/drawing/2014/main" id="{10939BDD-AE1B-8384-7D0B-EC6D97D847F5}"/>
              </a:ext>
            </a:extLst>
          </p:cNvPr>
          <p:cNvSpPr/>
          <p:nvPr/>
        </p:nvSpPr>
        <p:spPr>
          <a:xfrm>
            <a:off x="8895372" y="5558876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object 262">
            <a:extLst>
              <a:ext uri="{FF2B5EF4-FFF2-40B4-BE49-F238E27FC236}">
                <a16:creationId xmlns:a16="http://schemas.microsoft.com/office/drawing/2014/main" id="{66B20080-159F-3028-193D-7070F9052393}"/>
              </a:ext>
            </a:extLst>
          </p:cNvPr>
          <p:cNvSpPr txBox="1"/>
          <p:nvPr/>
        </p:nvSpPr>
        <p:spPr>
          <a:xfrm>
            <a:off x="8903193" y="5888613"/>
            <a:ext cx="1527760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MENTAL HEALTH COACHING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425B485-B06B-1BE5-FB90-D4DDB3C4B1CB}"/>
              </a:ext>
            </a:extLst>
          </p:cNvPr>
          <p:cNvCxnSpPr>
            <a:cxnSpLocks/>
          </p:cNvCxnSpPr>
          <p:nvPr/>
        </p:nvCxnSpPr>
        <p:spPr>
          <a:xfrm>
            <a:off x="8727475" y="5954969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raphic 637">
            <a:extLst>
              <a:ext uri="{FF2B5EF4-FFF2-40B4-BE49-F238E27FC236}">
                <a16:creationId xmlns:a16="http://schemas.microsoft.com/office/drawing/2014/main" id="{2D8C461C-8136-BE4E-3898-C191E7E2DF0B}"/>
              </a:ext>
            </a:extLst>
          </p:cNvPr>
          <p:cNvSpPr/>
          <p:nvPr/>
        </p:nvSpPr>
        <p:spPr>
          <a:xfrm>
            <a:off x="8906940" y="6073531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bject 262">
            <a:extLst>
              <a:ext uri="{FF2B5EF4-FFF2-40B4-BE49-F238E27FC236}">
                <a16:creationId xmlns:a16="http://schemas.microsoft.com/office/drawing/2014/main" id="{A028375A-EB21-9C1D-D103-FE2CBDC98C95}"/>
              </a:ext>
            </a:extLst>
          </p:cNvPr>
          <p:cNvSpPr txBox="1"/>
          <p:nvPr/>
        </p:nvSpPr>
        <p:spPr>
          <a:xfrm>
            <a:off x="8914761" y="6403268"/>
            <a:ext cx="1527760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PHYSICAL HEALTH COACHING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28A9357-DF0D-3CD0-B96B-13A3844E9DCC}"/>
              </a:ext>
            </a:extLst>
          </p:cNvPr>
          <p:cNvCxnSpPr>
            <a:cxnSpLocks/>
          </p:cNvCxnSpPr>
          <p:nvPr/>
        </p:nvCxnSpPr>
        <p:spPr>
          <a:xfrm>
            <a:off x="8727475" y="6469624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15753E4-1A40-A53F-0584-F8B307C095A5}"/>
              </a:ext>
            </a:extLst>
          </p:cNvPr>
          <p:cNvSpPr/>
          <p:nvPr/>
        </p:nvSpPr>
        <p:spPr>
          <a:xfrm>
            <a:off x="5250723" y="3439796"/>
            <a:ext cx="3393734" cy="3460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2. CLAIMS SUPPORT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1B9DFC1-77B2-A434-3197-87DAF75E3D37}"/>
              </a:ext>
            </a:extLst>
          </p:cNvPr>
          <p:cNvCxnSpPr>
            <a:cxnSpLocks/>
          </p:cNvCxnSpPr>
          <p:nvPr/>
        </p:nvCxnSpPr>
        <p:spPr>
          <a:xfrm>
            <a:off x="10507280" y="3753189"/>
            <a:ext cx="8320" cy="1108371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158">
            <a:extLst>
              <a:ext uri="{FF2B5EF4-FFF2-40B4-BE49-F238E27FC236}">
                <a16:creationId xmlns:a16="http://schemas.microsoft.com/office/drawing/2014/main" id="{5FA25227-BAB4-EBF8-C8B5-6F1B44E6816F}"/>
              </a:ext>
            </a:extLst>
          </p:cNvPr>
          <p:cNvSpPr/>
          <p:nvPr/>
        </p:nvSpPr>
        <p:spPr>
          <a:xfrm>
            <a:off x="8722787" y="3439796"/>
            <a:ext cx="3382371" cy="3460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3. EMPOWERING RECOVERY</a:t>
            </a:r>
          </a:p>
        </p:txBody>
      </p:sp>
      <p:sp>
        <p:nvSpPr>
          <p:cNvPr id="31" name="bk object 67">
            <a:extLst>
              <a:ext uri="{FF2B5EF4-FFF2-40B4-BE49-F238E27FC236}">
                <a16:creationId xmlns:a16="http://schemas.microsoft.com/office/drawing/2014/main" id="{DFDBC5B7-7446-4C78-7E1D-41B6CD8A4A5A}"/>
              </a:ext>
            </a:extLst>
          </p:cNvPr>
          <p:cNvSpPr/>
          <p:nvPr/>
        </p:nvSpPr>
        <p:spPr>
          <a:xfrm>
            <a:off x="10745656" y="2204017"/>
            <a:ext cx="55815" cy="556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bk object 68">
            <a:extLst>
              <a:ext uri="{FF2B5EF4-FFF2-40B4-BE49-F238E27FC236}">
                <a16:creationId xmlns:a16="http://schemas.microsoft.com/office/drawing/2014/main" id="{3F0EBA48-9F0E-A544-4B94-F79CCEFA83FE}"/>
              </a:ext>
            </a:extLst>
          </p:cNvPr>
          <p:cNvSpPr/>
          <p:nvPr/>
        </p:nvSpPr>
        <p:spPr>
          <a:xfrm>
            <a:off x="11217541" y="2120629"/>
            <a:ext cx="47642" cy="724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bk object 67">
            <a:extLst>
              <a:ext uri="{FF2B5EF4-FFF2-40B4-BE49-F238E27FC236}">
                <a16:creationId xmlns:a16="http://schemas.microsoft.com/office/drawing/2014/main" id="{0F8A7324-7117-C7AE-A875-691D76776437}"/>
              </a:ext>
            </a:extLst>
          </p:cNvPr>
          <p:cNvSpPr/>
          <p:nvPr/>
        </p:nvSpPr>
        <p:spPr>
          <a:xfrm flipH="1">
            <a:off x="10842145" y="2151465"/>
            <a:ext cx="55815" cy="556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bk object 68">
            <a:extLst>
              <a:ext uri="{FF2B5EF4-FFF2-40B4-BE49-F238E27FC236}">
                <a16:creationId xmlns:a16="http://schemas.microsoft.com/office/drawing/2014/main" id="{0F993EDE-31B5-50D8-969A-56A41DA1E235}"/>
              </a:ext>
            </a:extLst>
          </p:cNvPr>
          <p:cNvSpPr/>
          <p:nvPr/>
        </p:nvSpPr>
        <p:spPr>
          <a:xfrm flipH="1">
            <a:off x="11284066" y="2100287"/>
            <a:ext cx="47642" cy="724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bk object 67">
            <a:extLst>
              <a:ext uri="{FF2B5EF4-FFF2-40B4-BE49-F238E27FC236}">
                <a16:creationId xmlns:a16="http://schemas.microsoft.com/office/drawing/2014/main" id="{C9B3A9B1-902E-AEA8-F15C-9629B949BAA8}"/>
              </a:ext>
            </a:extLst>
          </p:cNvPr>
          <p:cNvSpPr/>
          <p:nvPr/>
        </p:nvSpPr>
        <p:spPr>
          <a:xfrm flipH="1">
            <a:off x="10842145" y="2246821"/>
            <a:ext cx="55815" cy="5565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63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7" name="Graphic 637">
            <a:extLst>
              <a:ext uri="{FF2B5EF4-FFF2-40B4-BE49-F238E27FC236}">
                <a16:creationId xmlns:a16="http://schemas.microsoft.com/office/drawing/2014/main" id="{3A6E41C8-7F53-B282-5222-97BB24DFE3EF}"/>
              </a:ext>
            </a:extLst>
          </p:cNvPr>
          <p:cNvSpPr/>
          <p:nvPr/>
        </p:nvSpPr>
        <p:spPr>
          <a:xfrm>
            <a:off x="5393420" y="6060767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8" name="object 262">
            <a:extLst>
              <a:ext uri="{FF2B5EF4-FFF2-40B4-BE49-F238E27FC236}">
                <a16:creationId xmlns:a16="http://schemas.microsoft.com/office/drawing/2014/main" id="{C5957033-B480-B0BB-FE08-89DA9429B8A5}"/>
              </a:ext>
            </a:extLst>
          </p:cNvPr>
          <p:cNvSpPr txBox="1"/>
          <p:nvPr/>
        </p:nvSpPr>
        <p:spPr>
          <a:xfrm>
            <a:off x="5405675" y="6390543"/>
            <a:ext cx="1527760" cy="374340"/>
          </a:xfrm>
          <a:prstGeom prst="rect">
            <a:avLst/>
          </a:prstGeom>
          <a:ln>
            <a:noFill/>
          </a:ln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MENTAL HEALTH SUPPORT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Early intervention via telehealth, including Mental health Assist</a:t>
            </a:r>
          </a:p>
        </p:txBody>
      </p: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3D44878B-9E59-9719-E8BD-8F9F6A050A75}"/>
              </a:ext>
            </a:extLst>
          </p:cNvPr>
          <p:cNvCxnSpPr>
            <a:cxnSpLocks/>
          </p:cNvCxnSpPr>
          <p:nvPr/>
        </p:nvCxnSpPr>
        <p:spPr>
          <a:xfrm>
            <a:off x="5257138" y="3777886"/>
            <a:ext cx="0" cy="266400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object 262">
            <a:extLst>
              <a:ext uri="{FF2B5EF4-FFF2-40B4-BE49-F238E27FC236}">
                <a16:creationId xmlns:a16="http://schemas.microsoft.com/office/drawing/2014/main" id="{C1287D84-45EE-75AF-FCB1-560905F9AD43}"/>
              </a:ext>
            </a:extLst>
          </p:cNvPr>
          <p:cNvSpPr txBox="1"/>
          <p:nvPr/>
        </p:nvSpPr>
        <p:spPr>
          <a:xfrm>
            <a:off x="5404188" y="4180230"/>
            <a:ext cx="1437703" cy="133249"/>
          </a:xfrm>
          <a:prstGeom prst="rect">
            <a:avLst/>
          </a:prstGeom>
          <a:ln>
            <a:noFill/>
          </a:ln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CANCER SUPPORT</a:t>
            </a:r>
          </a:p>
        </p:txBody>
      </p:sp>
      <p:sp>
        <p:nvSpPr>
          <p:cNvPr id="283" name="Graphic 637">
            <a:extLst>
              <a:ext uri="{FF2B5EF4-FFF2-40B4-BE49-F238E27FC236}">
                <a16:creationId xmlns:a16="http://schemas.microsoft.com/office/drawing/2014/main" id="{9490C7CA-0160-B2A3-AB2E-A0F297CBC45D}"/>
              </a:ext>
            </a:extLst>
          </p:cNvPr>
          <p:cNvSpPr/>
          <p:nvPr/>
        </p:nvSpPr>
        <p:spPr>
          <a:xfrm>
            <a:off x="5385822" y="3873233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4" name="object 262">
            <a:extLst>
              <a:ext uri="{FF2B5EF4-FFF2-40B4-BE49-F238E27FC236}">
                <a16:creationId xmlns:a16="http://schemas.microsoft.com/office/drawing/2014/main" id="{0DA18300-D7AB-6E8F-3BE7-73BD6E3A7B54}"/>
              </a:ext>
            </a:extLst>
          </p:cNvPr>
          <p:cNvSpPr txBox="1"/>
          <p:nvPr/>
        </p:nvSpPr>
        <p:spPr>
          <a:xfrm>
            <a:off x="5417851" y="4741335"/>
            <a:ext cx="1437703" cy="133249"/>
          </a:xfrm>
          <a:prstGeom prst="rect">
            <a:avLst/>
          </a:prstGeom>
          <a:ln>
            <a:noFill/>
          </a:ln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TRAUMA SUPPORT</a:t>
            </a:r>
          </a:p>
        </p:txBody>
      </p:sp>
      <p:sp>
        <p:nvSpPr>
          <p:cNvPr id="285" name="Graphic 637">
            <a:extLst>
              <a:ext uri="{FF2B5EF4-FFF2-40B4-BE49-F238E27FC236}">
                <a16:creationId xmlns:a16="http://schemas.microsoft.com/office/drawing/2014/main" id="{B8923A43-241E-4AED-4380-CD697C926429}"/>
              </a:ext>
            </a:extLst>
          </p:cNvPr>
          <p:cNvSpPr/>
          <p:nvPr/>
        </p:nvSpPr>
        <p:spPr>
          <a:xfrm>
            <a:off x="5399485" y="4434338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6" name="object 262">
            <a:extLst>
              <a:ext uri="{FF2B5EF4-FFF2-40B4-BE49-F238E27FC236}">
                <a16:creationId xmlns:a16="http://schemas.microsoft.com/office/drawing/2014/main" id="{F16CA95E-1A91-046D-4207-98587D27473E}"/>
              </a:ext>
            </a:extLst>
          </p:cNvPr>
          <p:cNvSpPr txBox="1"/>
          <p:nvPr/>
        </p:nvSpPr>
        <p:spPr>
          <a:xfrm>
            <a:off x="5418233" y="5307495"/>
            <a:ext cx="1437703" cy="133249"/>
          </a:xfrm>
          <a:prstGeom prst="rect">
            <a:avLst/>
          </a:prstGeom>
          <a:ln>
            <a:noFill/>
          </a:ln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PAIN SUPPORT</a:t>
            </a:r>
          </a:p>
        </p:txBody>
      </p:sp>
      <p:sp>
        <p:nvSpPr>
          <p:cNvPr id="287" name="Graphic 637">
            <a:extLst>
              <a:ext uri="{FF2B5EF4-FFF2-40B4-BE49-F238E27FC236}">
                <a16:creationId xmlns:a16="http://schemas.microsoft.com/office/drawing/2014/main" id="{22F4CB65-526D-4514-3316-36EE71BA497D}"/>
              </a:ext>
            </a:extLst>
          </p:cNvPr>
          <p:cNvSpPr/>
          <p:nvPr/>
        </p:nvSpPr>
        <p:spPr>
          <a:xfrm>
            <a:off x="5399867" y="5000498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8" name="object 262">
            <a:extLst>
              <a:ext uri="{FF2B5EF4-FFF2-40B4-BE49-F238E27FC236}">
                <a16:creationId xmlns:a16="http://schemas.microsoft.com/office/drawing/2014/main" id="{86FF3F6C-9FC0-DB19-BC9E-DCF33AF2683B}"/>
              </a:ext>
            </a:extLst>
          </p:cNvPr>
          <p:cNvSpPr txBox="1"/>
          <p:nvPr/>
        </p:nvSpPr>
        <p:spPr>
          <a:xfrm>
            <a:off x="5407408" y="5873655"/>
            <a:ext cx="1437703" cy="133249"/>
          </a:xfrm>
          <a:prstGeom prst="rect">
            <a:avLst/>
          </a:prstGeom>
          <a:ln>
            <a:noFill/>
          </a:ln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FATIGUE SUPPORT</a:t>
            </a:r>
          </a:p>
        </p:txBody>
      </p:sp>
      <p:sp>
        <p:nvSpPr>
          <p:cNvPr id="289" name="Graphic 637">
            <a:extLst>
              <a:ext uri="{FF2B5EF4-FFF2-40B4-BE49-F238E27FC236}">
                <a16:creationId xmlns:a16="http://schemas.microsoft.com/office/drawing/2014/main" id="{2FAA98D8-B578-A129-398A-5B7FB77FEAA6}"/>
              </a:ext>
            </a:extLst>
          </p:cNvPr>
          <p:cNvSpPr/>
          <p:nvPr/>
        </p:nvSpPr>
        <p:spPr>
          <a:xfrm>
            <a:off x="5389042" y="5566658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DAC217F4-0855-3BF3-FF30-F51255DEB282}"/>
              </a:ext>
            </a:extLst>
          </p:cNvPr>
          <p:cNvCxnSpPr/>
          <p:nvPr/>
        </p:nvCxnSpPr>
        <p:spPr>
          <a:xfrm>
            <a:off x="5257138" y="4248849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Straight Connector 298">
            <a:extLst>
              <a:ext uri="{FF2B5EF4-FFF2-40B4-BE49-F238E27FC236}">
                <a16:creationId xmlns:a16="http://schemas.microsoft.com/office/drawing/2014/main" id="{AF18436C-C292-7C4F-CE93-8F467FDE4916}"/>
              </a:ext>
            </a:extLst>
          </p:cNvPr>
          <p:cNvCxnSpPr>
            <a:cxnSpLocks/>
          </p:cNvCxnSpPr>
          <p:nvPr/>
        </p:nvCxnSpPr>
        <p:spPr>
          <a:xfrm>
            <a:off x="8727475" y="3768361"/>
            <a:ext cx="0" cy="270000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99C6C3A-123D-B33A-E36F-3466040ECA74}"/>
              </a:ext>
            </a:extLst>
          </p:cNvPr>
          <p:cNvCxnSpPr>
            <a:cxnSpLocks/>
          </p:cNvCxnSpPr>
          <p:nvPr/>
        </p:nvCxnSpPr>
        <p:spPr>
          <a:xfrm>
            <a:off x="5263966" y="4806165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7B06230-7AC4-5E5B-01B4-16A3EA6ABD11}"/>
              </a:ext>
            </a:extLst>
          </p:cNvPr>
          <p:cNvCxnSpPr>
            <a:cxnSpLocks/>
          </p:cNvCxnSpPr>
          <p:nvPr/>
        </p:nvCxnSpPr>
        <p:spPr>
          <a:xfrm>
            <a:off x="5263966" y="5328002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D020C02-7FE8-1BC8-997D-7F8D74EDB7B9}"/>
              </a:ext>
            </a:extLst>
          </p:cNvPr>
          <p:cNvCxnSpPr>
            <a:cxnSpLocks/>
          </p:cNvCxnSpPr>
          <p:nvPr/>
        </p:nvCxnSpPr>
        <p:spPr>
          <a:xfrm>
            <a:off x="5263966" y="5933215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29A82D4-64AC-9BF2-BCA7-71AE4673FAC8}"/>
              </a:ext>
            </a:extLst>
          </p:cNvPr>
          <p:cNvCxnSpPr>
            <a:cxnSpLocks/>
          </p:cNvCxnSpPr>
          <p:nvPr/>
        </p:nvCxnSpPr>
        <p:spPr>
          <a:xfrm>
            <a:off x="5263966" y="6447870"/>
            <a:ext cx="1143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bject 262">
            <a:extLst>
              <a:ext uri="{FF2B5EF4-FFF2-40B4-BE49-F238E27FC236}">
                <a16:creationId xmlns:a16="http://schemas.microsoft.com/office/drawing/2014/main" id="{72B9CED6-6B5F-272C-8052-BD0311830A9D}"/>
              </a:ext>
            </a:extLst>
          </p:cNvPr>
          <p:cNvSpPr txBox="1"/>
          <p:nvPr/>
        </p:nvSpPr>
        <p:spPr>
          <a:xfrm>
            <a:off x="10682028" y="4177403"/>
            <a:ext cx="1437703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EXERCISE COACHING</a:t>
            </a:r>
          </a:p>
        </p:txBody>
      </p:sp>
      <p:sp>
        <p:nvSpPr>
          <p:cNvPr id="50" name="Graphic 637">
            <a:extLst>
              <a:ext uri="{FF2B5EF4-FFF2-40B4-BE49-F238E27FC236}">
                <a16:creationId xmlns:a16="http://schemas.microsoft.com/office/drawing/2014/main" id="{62084314-AAA6-D6C5-2166-8E034327D2CB}"/>
              </a:ext>
            </a:extLst>
          </p:cNvPr>
          <p:cNvSpPr/>
          <p:nvPr/>
        </p:nvSpPr>
        <p:spPr>
          <a:xfrm>
            <a:off x="10663662" y="3870406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bject 262">
            <a:extLst>
              <a:ext uri="{FF2B5EF4-FFF2-40B4-BE49-F238E27FC236}">
                <a16:creationId xmlns:a16="http://schemas.microsoft.com/office/drawing/2014/main" id="{A57FA9C6-4B19-017B-2AAA-1B1D20C22D55}"/>
              </a:ext>
            </a:extLst>
          </p:cNvPr>
          <p:cNvSpPr txBox="1"/>
          <p:nvPr/>
        </p:nvSpPr>
        <p:spPr>
          <a:xfrm>
            <a:off x="10681344" y="4790600"/>
            <a:ext cx="1437703" cy="133249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WORK CONDITIONING</a:t>
            </a:r>
          </a:p>
        </p:txBody>
      </p:sp>
      <p:sp>
        <p:nvSpPr>
          <p:cNvPr id="56" name="Graphic 637">
            <a:extLst>
              <a:ext uri="{FF2B5EF4-FFF2-40B4-BE49-F238E27FC236}">
                <a16:creationId xmlns:a16="http://schemas.microsoft.com/office/drawing/2014/main" id="{F6E68153-B9FD-6273-679A-400B0DEBD322}"/>
              </a:ext>
            </a:extLst>
          </p:cNvPr>
          <p:cNvSpPr/>
          <p:nvPr/>
        </p:nvSpPr>
        <p:spPr>
          <a:xfrm>
            <a:off x="10662978" y="4483603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B71D76C-2410-4F84-71BD-9A2DE4EDCEEF}"/>
              </a:ext>
            </a:extLst>
          </p:cNvPr>
          <p:cNvCxnSpPr>
            <a:cxnSpLocks/>
          </p:cNvCxnSpPr>
          <p:nvPr/>
        </p:nvCxnSpPr>
        <p:spPr>
          <a:xfrm>
            <a:off x="10519141" y="4244947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319C333-F1FF-96BE-AAA1-9F6D7D9C92C8}"/>
              </a:ext>
            </a:extLst>
          </p:cNvPr>
          <p:cNvCxnSpPr>
            <a:cxnSpLocks/>
          </p:cNvCxnSpPr>
          <p:nvPr/>
        </p:nvCxnSpPr>
        <p:spPr>
          <a:xfrm>
            <a:off x="10519141" y="4850160"/>
            <a:ext cx="1143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4C2C5A1F-BE17-55BC-2581-4D1BA60E5B42}"/>
              </a:ext>
            </a:extLst>
          </p:cNvPr>
          <p:cNvSpPr/>
          <p:nvPr/>
        </p:nvSpPr>
        <p:spPr>
          <a:xfrm>
            <a:off x="5163601" y="3011459"/>
            <a:ext cx="6941561" cy="360000"/>
          </a:xfrm>
          <a:prstGeom prst="rect">
            <a:avLst/>
          </a:prstGeom>
          <a:solidFill>
            <a:srgbClr val="4053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0" marR="0" lvl="0" indent="920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Support services</a:t>
            </a:r>
          </a:p>
        </p:txBody>
      </p:sp>
      <p:sp>
        <p:nvSpPr>
          <p:cNvPr id="63" name="object 262">
            <a:extLst>
              <a:ext uri="{FF2B5EF4-FFF2-40B4-BE49-F238E27FC236}">
                <a16:creationId xmlns:a16="http://schemas.microsoft.com/office/drawing/2014/main" id="{927A8DC7-2B9F-F30F-23E5-52E35136240F}"/>
              </a:ext>
            </a:extLst>
          </p:cNvPr>
          <p:cNvSpPr txBox="1"/>
          <p:nvPr/>
        </p:nvSpPr>
        <p:spPr>
          <a:xfrm>
            <a:off x="3614361" y="4138567"/>
            <a:ext cx="1302308" cy="589784"/>
          </a:xfrm>
          <a:prstGeom prst="rect">
            <a:avLst/>
          </a:prstGeom>
        </p:spPr>
        <p:txBody>
          <a:bodyPr vert="horz" wrap="square" lIns="0" tIns="25280" rIns="0" bIns="0" rtlCol="0">
            <a:spAutoFit/>
          </a:bodyPr>
          <a:lstStyle/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+mn-ea"/>
                <a:cs typeface="Pluto Sans Bold"/>
              </a:rPr>
              <a:t>TARGETED  RECOMMENDATIONS</a:t>
            </a:r>
          </a:p>
          <a:p>
            <a:pPr marL="10319" marR="0" lvl="0" indent="0" algn="l" defTabSz="914400" rtl="0" eaLnBrk="1" fontAlgn="auto" latinLnBrk="0" hangingPunct="1">
              <a:lnSpc>
                <a:spcPct val="100000"/>
              </a:lnSpc>
              <a:spcBef>
                <a:spcPts val="19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700" b="0" i="0" u="none" strike="noStrike" kern="1200" cap="none" spc="-4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Pluto Sans Bold"/>
              </a:rPr>
              <a:t>Targeted recommendations and education based on health  risk factors </a:t>
            </a:r>
          </a:p>
        </p:txBody>
      </p:sp>
      <p:sp>
        <p:nvSpPr>
          <p:cNvPr id="65" name="Graphic 637">
            <a:extLst>
              <a:ext uri="{FF2B5EF4-FFF2-40B4-BE49-F238E27FC236}">
                <a16:creationId xmlns:a16="http://schemas.microsoft.com/office/drawing/2014/main" id="{1065D827-C0CC-C4F3-D9E6-5CF6D9BB86E5}"/>
              </a:ext>
            </a:extLst>
          </p:cNvPr>
          <p:cNvSpPr/>
          <p:nvPr/>
        </p:nvSpPr>
        <p:spPr>
          <a:xfrm>
            <a:off x="3608582" y="3830190"/>
            <a:ext cx="222810" cy="268092"/>
          </a:xfrm>
          <a:custGeom>
            <a:avLst/>
            <a:gdLst>
              <a:gd name="connsiteX0" fmla="*/ 255573 w 262811"/>
              <a:gd name="connsiteY0" fmla="*/ 157695 h 316222"/>
              <a:gd name="connsiteX1" fmla="*/ 180423 w 262811"/>
              <a:gd name="connsiteY1" fmla="*/ 67310 h 316222"/>
              <a:gd name="connsiteX2" fmla="*/ 131406 w 262811"/>
              <a:gd name="connsiteY2" fmla="*/ 0 h 316222"/>
              <a:gd name="connsiteX3" fmla="*/ 82389 w 262811"/>
              <a:gd name="connsiteY3" fmla="*/ 67310 h 316222"/>
              <a:gd name="connsiteX4" fmla="*/ 7239 w 262811"/>
              <a:gd name="connsiteY4" fmla="*/ 157695 h 316222"/>
              <a:gd name="connsiteX5" fmla="*/ 0 w 262811"/>
              <a:gd name="connsiteY5" fmla="*/ 172743 h 316222"/>
              <a:gd name="connsiteX6" fmla="*/ 0 w 262811"/>
              <a:gd name="connsiteY6" fmla="*/ 196900 h 316222"/>
              <a:gd name="connsiteX7" fmla="*/ 7349 w 262811"/>
              <a:gd name="connsiteY7" fmla="*/ 212038 h 316222"/>
              <a:gd name="connsiteX8" fmla="*/ 103983 w 262811"/>
              <a:gd name="connsiteY8" fmla="*/ 308624 h 316222"/>
              <a:gd name="connsiteX9" fmla="*/ 119332 w 262811"/>
              <a:gd name="connsiteY9" fmla="*/ 316223 h 316222"/>
              <a:gd name="connsiteX10" fmla="*/ 143480 w 262811"/>
              <a:gd name="connsiteY10" fmla="*/ 316223 h 316222"/>
              <a:gd name="connsiteX11" fmla="*/ 158828 w 262811"/>
              <a:gd name="connsiteY11" fmla="*/ 308624 h 316222"/>
              <a:gd name="connsiteX12" fmla="*/ 255463 w 262811"/>
              <a:gd name="connsiteY12" fmla="*/ 212038 h 316222"/>
              <a:gd name="connsiteX13" fmla="*/ 262812 w 262811"/>
              <a:gd name="connsiteY13" fmla="*/ 196900 h 316222"/>
              <a:gd name="connsiteX14" fmla="*/ 262812 w 262811"/>
              <a:gd name="connsiteY14" fmla="*/ 172743 h 316222"/>
              <a:gd name="connsiteX15" fmla="*/ 255573 w 262811"/>
              <a:gd name="connsiteY15" fmla="*/ 157695 h 316222"/>
              <a:gd name="connsiteX16" fmla="*/ 155489 w 262811"/>
              <a:gd name="connsiteY16" fmla="*/ 246201 h 316222"/>
              <a:gd name="connsiteX17" fmla="*/ 143480 w 262811"/>
              <a:gd name="connsiteY17" fmla="*/ 241957 h 316222"/>
              <a:gd name="connsiteX18" fmla="*/ 119332 w 262811"/>
              <a:gd name="connsiteY18" fmla="*/ 241957 h 316222"/>
              <a:gd name="connsiteX19" fmla="*/ 107323 w 262811"/>
              <a:gd name="connsiteY19" fmla="*/ 246201 h 316222"/>
              <a:gd name="connsiteX20" fmla="*/ 69925 w 262811"/>
              <a:gd name="connsiteY20" fmla="*/ 209032 h 316222"/>
              <a:gd name="connsiteX21" fmla="*/ 74275 w 262811"/>
              <a:gd name="connsiteY21" fmla="*/ 196900 h 316222"/>
              <a:gd name="connsiteX22" fmla="*/ 74275 w 262811"/>
              <a:gd name="connsiteY22" fmla="*/ 172743 h 316222"/>
              <a:gd name="connsiteX23" fmla="*/ 69780 w 262811"/>
              <a:gd name="connsiteY23" fmla="*/ 160434 h 316222"/>
              <a:gd name="connsiteX24" fmla="*/ 106907 w 262811"/>
              <a:gd name="connsiteY24" fmla="*/ 123097 h 316222"/>
              <a:gd name="connsiteX25" fmla="*/ 119332 w 262811"/>
              <a:gd name="connsiteY25" fmla="*/ 127686 h 316222"/>
              <a:gd name="connsiteX26" fmla="*/ 143480 w 262811"/>
              <a:gd name="connsiteY26" fmla="*/ 127686 h 316222"/>
              <a:gd name="connsiteX27" fmla="*/ 155905 w 262811"/>
              <a:gd name="connsiteY27" fmla="*/ 123097 h 316222"/>
              <a:gd name="connsiteX28" fmla="*/ 193032 w 262811"/>
              <a:gd name="connsiteY28" fmla="*/ 160434 h 316222"/>
              <a:gd name="connsiteX29" fmla="*/ 188537 w 262811"/>
              <a:gd name="connsiteY29" fmla="*/ 172743 h 316222"/>
              <a:gd name="connsiteX30" fmla="*/ 188537 w 262811"/>
              <a:gd name="connsiteY30" fmla="*/ 196900 h 316222"/>
              <a:gd name="connsiteX31" fmla="*/ 192887 w 262811"/>
              <a:gd name="connsiteY31" fmla="*/ 209032 h 316222"/>
              <a:gd name="connsiteX32" fmla="*/ 155489 w 262811"/>
              <a:gd name="connsiteY32" fmla="*/ 246201 h 316222"/>
              <a:gd name="connsiteX33" fmla="*/ 11423 w 262811"/>
              <a:gd name="connsiteY33" fmla="*/ 196900 h 316222"/>
              <a:gd name="connsiteX34" fmla="*/ 11423 w 262811"/>
              <a:gd name="connsiteY34" fmla="*/ 172743 h 316222"/>
              <a:gd name="connsiteX35" fmla="*/ 19534 w 262811"/>
              <a:gd name="connsiteY35" fmla="*/ 164641 h 316222"/>
              <a:gd name="connsiteX36" fmla="*/ 54741 w 262811"/>
              <a:gd name="connsiteY36" fmla="*/ 164641 h 316222"/>
              <a:gd name="connsiteX37" fmla="*/ 62852 w 262811"/>
              <a:gd name="connsiteY37" fmla="*/ 172743 h 316222"/>
              <a:gd name="connsiteX38" fmla="*/ 62852 w 262811"/>
              <a:gd name="connsiteY38" fmla="*/ 196900 h 316222"/>
              <a:gd name="connsiteX39" fmla="*/ 54741 w 262811"/>
              <a:gd name="connsiteY39" fmla="*/ 205002 h 316222"/>
              <a:gd name="connsiteX40" fmla="*/ 19534 w 262811"/>
              <a:gd name="connsiteY40" fmla="*/ 205002 h 316222"/>
              <a:gd name="connsiteX41" fmla="*/ 11423 w 262811"/>
              <a:gd name="connsiteY41" fmla="*/ 196900 h 316222"/>
              <a:gd name="connsiteX42" fmla="*/ 151582 w 262811"/>
              <a:gd name="connsiteY42" fmla="*/ 72944 h 316222"/>
              <a:gd name="connsiteX43" fmla="*/ 151582 w 262811"/>
              <a:gd name="connsiteY43" fmla="*/ 108161 h 316222"/>
              <a:gd name="connsiteX44" fmla="*/ 143480 w 262811"/>
              <a:gd name="connsiteY44" fmla="*/ 116262 h 316222"/>
              <a:gd name="connsiteX45" fmla="*/ 119332 w 262811"/>
              <a:gd name="connsiteY45" fmla="*/ 116262 h 316222"/>
              <a:gd name="connsiteX46" fmla="*/ 111230 w 262811"/>
              <a:gd name="connsiteY46" fmla="*/ 108161 h 316222"/>
              <a:gd name="connsiteX47" fmla="*/ 111230 w 262811"/>
              <a:gd name="connsiteY47" fmla="*/ 72944 h 316222"/>
              <a:gd name="connsiteX48" fmla="*/ 119332 w 262811"/>
              <a:gd name="connsiteY48" fmla="*/ 64842 h 316222"/>
              <a:gd name="connsiteX49" fmla="*/ 143480 w 262811"/>
              <a:gd name="connsiteY49" fmla="*/ 64842 h 316222"/>
              <a:gd name="connsiteX50" fmla="*/ 151582 w 262811"/>
              <a:gd name="connsiteY50" fmla="*/ 72944 h 316222"/>
              <a:gd name="connsiteX51" fmla="*/ 199960 w 262811"/>
              <a:gd name="connsiteY51" fmla="*/ 196900 h 316222"/>
              <a:gd name="connsiteX52" fmla="*/ 199960 w 262811"/>
              <a:gd name="connsiteY52" fmla="*/ 172743 h 316222"/>
              <a:gd name="connsiteX53" fmla="*/ 208071 w 262811"/>
              <a:gd name="connsiteY53" fmla="*/ 164641 h 316222"/>
              <a:gd name="connsiteX54" fmla="*/ 243278 w 262811"/>
              <a:gd name="connsiteY54" fmla="*/ 164641 h 316222"/>
              <a:gd name="connsiteX55" fmla="*/ 251390 w 262811"/>
              <a:gd name="connsiteY55" fmla="*/ 172743 h 316222"/>
              <a:gd name="connsiteX56" fmla="*/ 251390 w 262811"/>
              <a:gd name="connsiteY56" fmla="*/ 196900 h 316222"/>
              <a:gd name="connsiteX57" fmla="*/ 243278 w 262811"/>
              <a:gd name="connsiteY57" fmla="*/ 205002 h 316222"/>
              <a:gd name="connsiteX58" fmla="*/ 208071 w 262811"/>
              <a:gd name="connsiteY58" fmla="*/ 205002 h 316222"/>
              <a:gd name="connsiteX59" fmla="*/ 199960 w 262811"/>
              <a:gd name="connsiteY59" fmla="*/ 196900 h 316222"/>
              <a:gd name="connsiteX60" fmla="*/ 242748 w 262811"/>
              <a:gd name="connsiteY60" fmla="*/ 153218 h 316222"/>
              <a:gd name="connsiteX61" fmla="*/ 208071 w 262811"/>
              <a:gd name="connsiteY61" fmla="*/ 153218 h 316222"/>
              <a:gd name="connsiteX62" fmla="*/ 202765 w 262811"/>
              <a:gd name="connsiteY62" fmla="*/ 154043 h 316222"/>
              <a:gd name="connsiteX63" fmla="*/ 162217 w 262811"/>
              <a:gd name="connsiteY63" fmla="*/ 113346 h 316222"/>
              <a:gd name="connsiteX64" fmla="*/ 163004 w 262811"/>
              <a:gd name="connsiteY64" fmla="*/ 108161 h 316222"/>
              <a:gd name="connsiteX65" fmla="*/ 163004 w 262811"/>
              <a:gd name="connsiteY65" fmla="*/ 73285 h 316222"/>
              <a:gd name="connsiteX66" fmla="*/ 242748 w 262811"/>
              <a:gd name="connsiteY66" fmla="*/ 153218 h 316222"/>
              <a:gd name="connsiteX67" fmla="*/ 131406 w 262811"/>
              <a:gd name="connsiteY67" fmla="*/ 11423 h 316222"/>
              <a:gd name="connsiteX68" fmla="*/ 167880 w 262811"/>
              <a:gd name="connsiteY68" fmla="*/ 62844 h 316222"/>
              <a:gd name="connsiteX69" fmla="*/ 158310 w 262811"/>
              <a:gd name="connsiteY69" fmla="*/ 60390 h 316222"/>
              <a:gd name="connsiteX70" fmla="*/ 143480 w 262811"/>
              <a:gd name="connsiteY70" fmla="*/ 53420 h 316222"/>
              <a:gd name="connsiteX71" fmla="*/ 119332 w 262811"/>
              <a:gd name="connsiteY71" fmla="*/ 53420 h 316222"/>
              <a:gd name="connsiteX72" fmla="*/ 104502 w 262811"/>
              <a:gd name="connsiteY72" fmla="*/ 60390 h 316222"/>
              <a:gd name="connsiteX73" fmla="*/ 94932 w 262811"/>
              <a:gd name="connsiteY73" fmla="*/ 62844 h 316222"/>
              <a:gd name="connsiteX74" fmla="*/ 131406 w 262811"/>
              <a:gd name="connsiteY74" fmla="*/ 11423 h 316222"/>
              <a:gd name="connsiteX75" fmla="*/ 99808 w 262811"/>
              <a:gd name="connsiteY75" fmla="*/ 73285 h 316222"/>
              <a:gd name="connsiteX76" fmla="*/ 99808 w 262811"/>
              <a:gd name="connsiteY76" fmla="*/ 108161 h 316222"/>
              <a:gd name="connsiteX77" fmla="*/ 100594 w 262811"/>
              <a:gd name="connsiteY77" fmla="*/ 113346 h 316222"/>
              <a:gd name="connsiteX78" fmla="*/ 60047 w 262811"/>
              <a:gd name="connsiteY78" fmla="*/ 154043 h 316222"/>
              <a:gd name="connsiteX79" fmla="*/ 54741 w 262811"/>
              <a:gd name="connsiteY79" fmla="*/ 153218 h 316222"/>
              <a:gd name="connsiteX80" fmla="*/ 20064 w 262811"/>
              <a:gd name="connsiteY80" fmla="*/ 153218 h 316222"/>
              <a:gd name="connsiteX81" fmla="*/ 99808 w 262811"/>
              <a:gd name="connsiteY81" fmla="*/ 73285 h 316222"/>
              <a:gd name="connsiteX82" fmla="*/ 20178 w 262811"/>
              <a:gd name="connsiteY82" fmla="*/ 216424 h 316222"/>
              <a:gd name="connsiteX83" fmla="*/ 54741 w 262811"/>
              <a:gd name="connsiteY83" fmla="*/ 216424 h 316222"/>
              <a:gd name="connsiteX84" fmla="*/ 60248 w 262811"/>
              <a:gd name="connsiteY84" fmla="*/ 215538 h 316222"/>
              <a:gd name="connsiteX85" fmla="*/ 100733 w 262811"/>
              <a:gd name="connsiteY85" fmla="*/ 255854 h 316222"/>
              <a:gd name="connsiteX86" fmla="*/ 99808 w 262811"/>
              <a:gd name="connsiteY86" fmla="*/ 261481 h 316222"/>
              <a:gd name="connsiteX87" fmla="*/ 99808 w 262811"/>
              <a:gd name="connsiteY87" fmla="*/ 295863 h 316222"/>
              <a:gd name="connsiteX88" fmla="*/ 20178 w 262811"/>
              <a:gd name="connsiteY88" fmla="*/ 216424 h 316222"/>
              <a:gd name="connsiteX89" fmla="*/ 143480 w 262811"/>
              <a:gd name="connsiteY89" fmla="*/ 304800 h 316222"/>
              <a:gd name="connsiteX90" fmla="*/ 119332 w 262811"/>
              <a:gd name="connsiteY90" fmla="*/ 304800 h 316222"/>
              <a:gd name="connsiteX91" fmla="*/ 111230 w 262811"/>
              <a:gd name="connsiteY91" fmla="*/ 296698 h 316222"/>
              <a:gd name="connsiteX92" fmla="*/ 111230 w 262811"/>
              <a:gd name="connsiteY92" fmla="*/ 261481 h 316222"/>
              <a:gd name="connsiteX93" fmla="*/ 119332 w 262811"/>
              <a:gd name="connsiteY93" fmla="*/ 253380 h 316222"/>
              <a:gd name="connsiteX94" fmla="*/ 143480 w 262811"/>
              <a:gd name="connsiteY94" fmla="*/ 253380 h 316222"/>
              <a:gd name="connsiteX95" fmla="*/ 151582 w 262811"/>
              <a:gd name="connsiteY95" fmla="*/ 261481 h 316222"/>
              <a:gd name="connsiteX96" fmla="*/ 151582 w 262811"/>
              <a:gd name="connsiteY96" fmla="*/ 296698 h 316222"/>
              <a:gd name="connsiteX97" fmla="*/ 143480 w 262811"/>
              <a:gd name="connsiteY97" fmla="*/ 304800 h 316222"/>
              <a:gd name="connsiteX98" fmla="*/ 163004 w 262811"/>
              <a:gd name="connsiteY98" fmla="*/ 295863 h 316222"/>
              <a:gd name="connsiteX99" fmla="*/ 163004 w 262811"/>
              <a:gd name="connsiteY99" fmla="*/ 261481 h 316222"/>
              <a:gd name="connsiteX100" fmla="*/ 162079 w 262811"/>
              <a:gd name="connsiteY100" fmla="*/ 255854 h 316222"/>
              <a:gd name="connsiteX101" fmla="*/ 202564 w 262811"/>
              <a:gd name="connsiteY101" fmla="*/ 215538 h 316222"/>
              <a:gd name="connsiteX102" fmla="*/ 208071 w 262811"/>
              <a:gd name="connsiteY102" fmla="*/ 216424 h 316222"/>
              <a:gd name="connsiteX103" fmla="*/ 242634 w 262811"/>
              <a:gd name="connsiteY103" fmla="*/ 216424 h 316222"/>
              <a:gd name="connsiteX104" fmla="*/ 163004 w 262811"/>
              <a:gd name="connsiteY104" fmla="*/ 295863 h 31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262811" h="316222">
                <a:moveTo>
                  <a:pt x="255573" y="157695"/>
                </a:moveTo>
                <a:cubicBezTo>
                  <a:pt x="246702" y="116438"/>
                  <a:pt x="218419" y="83090"/>
                  <a:pt x="180423" y="67310"/>
                </a:cubicBezTo>
                <a:cubicBezTo>
                  <a:pt x="173116" y="26325"/>
                  <a:pt x="154090" y="0"/>
                  <a:pt x="131406" y="0"/>
                </a:cubicBezTo>
                <a:cubicBezTo>
                  <a:pt x="108722" y="0"/>
                  <a:pt x="89696" y="26325"/>
                  <a:pt x="82389" y="67310"/>
                </a:cubicBezTo>
                <a:cubicBezTo>
                  <a:pt x="44393" y="83090"/>
                  <a:pt x="16110" y="116438"/>
                  <a:pt x="7239" y="157695"/>
                </a:cubicBezTo>
                <a:cubicBezTo>
                  <a:pt x="2859" y="161277"/>
                  <a:pt x="0" y="166654"/>
                  <a:pt x="0" y="172743"/>
                </a:cubicBezTo>
                <a:lnTo>
                  <a:pt x="0" y="196900"/>
                </a:lnTo>
                <a:cubicBezTo>
                  <a:pt x="0" y="203040"/>
                  <a:pt x="2905" y="208457"/>
                  <a:pt x="7349" y="212038"/>
                </a:cubicBezTo>
                <a:cubicBezTo>
                  <a:pt x="18010" y="260452"/>
                  <a:pt x="55563" y="297987"/>
                  <a:pt x="103983" y="308624"/>
                </a:cubicBezTo>
                <a:cubicBezTo>
                  <a:pt x="107558" y="313214"/>
                  <a:pt x="113073" y="316223"/>
                  <a:pt x="119332" y="316223"/>
                </a:cubicBezTo>
                <a:lnTo>
                  <a:pt x="143480" y="316223"/>
                </a:lnTo>
                <a:cubicBezTo>
                  <a:pt x="149739" y="316223"/>
                  <a:pt x="155254" y="313214"/>
                  <a:pt x="158828" y="308624"/>
                </a:cubicBezTo>
                <a:cubicBezTo>
                  <a:pt x="207249" y="297987"/>
                  <a:pt x="244802" y="260452"/>
                  <a:pt x="255463" y="212038"/>
                </a:cubicBezTo>
                <a:cubicBezTo>
                  <a:pt x="259907" y="208457"/>
                  <a:pt x="262812" y="203040"/>
                  <a:pt x="262812" y="196900"/>
                </a:cubicBezTo>
                <a:lnTo>
                  <a:pt x="262812" y="172743"/>
                </a:lnTo>
                <a:cubicBezTo>
                  <a:pt x="262812" y="166654"/>
                  <a:pt x="259953" y="161277"/>
                  <a:pt x="255573" y="157695"/>
                </a:cubicBezTo>
                <a:close/>
                <a:moveTo>
                  <a:pt x="155489" y="246201"/>
                </a:moveTo>
                <a:cubicBezTo>
                  <a:pt x="152167" y="243585"/>
                  <a:pt x="148031" y="241957"/>
                  <a:pt x="143480" y="241957"/>
                </a:cubicBezTo>
                <a:lnTo>
                  <a:pt x="119332" y="241957"/>
                </a:lnTo>
                <a:cubicBezTo>
                  <a:pt x="114781" y="241957"/>
                  <a:pt x="110645" y="243585"/>
                  <a:pt x="107323" y="246201"/>
                </a:cubicBezTo>
                <a:cubicBezTo>
                  <a:pt x="90330" y="239544"/>
                  <a:pt x="76704" y="226002"/>
                  <a:pt x="69925" y="209032"/>
                </a:cubicBezTo>
                <a:cubicBezTo>
                  <a:pt x="72604" y="205690"/>
                  <a:pt x="74275" y="201508"/>
                  <a:pt x="74275" y="196900"/>
                </a:cubicBezTo>
                <a:lnTo>
                  <a:pt x="74275" y="172743"/>
                </a:lnTo>
                <a:cubicBezTo>
                  <a:pt x="74275" y="168053"/>
                  <a:pt x="72545" y="163803"/>
                  <a:pt x="69780" y="160434"/>
                </a:cubicBezTo>
                <a:cubicBezTo>
                  <a:pt x="76441" y="143463"/>
                  <a:pt x="89963" y="129868"/>
                  <a:pt x="106907" y="123097"/>
                </a:cubicBezTo>
                <a:cubicBezTo>
                  <a:pt x="110292" y="125919"/>
                  <a:pt x="114588" y="127686"/>
                  <a:pt x="119332" y="127686"/>
                </a:cubicBezTo>
                <a:lnTo>
                  <a:pt x="143480" y="127686"/>
                </a:lnTo>
                <a:cubicBezTo>
                  <a:pt x="148224" y="127686"/>
                  <a:pt x="152520" y="125919"/>
                  <a:pt x="155905" y="123097"/>
                </a:cubicBezTo>
                <a:cubicBezTo>
                  <a:pt x="172849" y="129868"/>
                  <a:pt x="186371" y="143463"/>
                  <a:pt x="193032" y="160434"/>
                </a:cubicBezTo>
                <a:cubicBezTo>
                  <a:pt x="190267" y="163803"/>
                  <a:pt x="188537" y="168053"/>
                  <a:pt x="188537" y="172743"/>
                </a:cubicBezTo>
                <a:lnTo>
                  <a:pt x="188537" y="196900"/>
                </a:lnTo>
                <a:cubicBezTo>
                  <a:pt x="188537" y="201508"/>
                  <a:pt x="190208" y="205690"/>
                  <a:pt x="192887" y="209032"/>
                </a:cubicBezTo>
                <a:cubicBezTo>
                  <a:pt x="186108" y="226002"/>
                  <a:pt x="172482" y="239544"/>
                  <a:pt x="155489" y="246201"/>
                </a:cubicBezTo>
                <a:close/>
                <a:moveTo>
                  <a:pt x="11423" y="196900"/>
                </a:moveTo>
                <a:lnTo>
                  <a:pt x="11423" y="172743"/>
                </a:lnTo>
                <a:cubicBezTo>
                  <a:pt x="11423" y="168278"/>
                  <a:pt x="15060" y="164641"/>
                  <a:pt x="19534" y="164641"/>
                </a:cubicBezTo>
                <a:lnTo>
                  <a:pt x="54741" y="164641"/>
                </a:lnTo>
                <a:cubicBezTo>
                  <a:pt x="59215" y="164641"/>
                  <a:pt x="62852" y="168278"/>
                  <a:pt x="62852" y="172743"/>
                </a:cubicBezTo>
                <a:lnTo>
                  <a:pt x="62852" y="196900"/>
                </a:lnTo>
                <a:cubicBezTo>
                  <a:pt x="62852" y="201364"/>
                  <a:pt x="59215" y="205002"/>
                  <a:pt x="54741" y="205002"/>
                </a:cubicBezTo>
                <a:lnTo>
                  <a:pt x="19534" y="205002"/>
                </a:lnTo>
                <a:cubicBezTo>
                  <a:pt x="15060" y="205002"/>
                  <a:pt x="11423" y="201364"/>
                  <a:pt x="11423" y="196900"/>
                </a:cubicBezTo>
                <a:close/>
                <a:moveTo>
                  <a:pt x="151582" y="72944"/>
                </a:moveTo>
                <a:lnTo>
                  <a:pt x="151582" y="108161"/>
                </a:lnTo>
                <a:cubicBezTo>
                  <a:pt x="151582" y="112626"/>
                  <a:pt x="147944" y="116262"/>
                  <a:pt x="143480" y="116262"/>
                </a:cubicBezTo>
                <a:lnTo>
                  <a:pt x="119332" y="116262"/>
                </a:lnTo>
                <a:cubicBezTo>
                  <a:pt x="114868" y="116262"/>
                  <a:pt x="111230" y="112626"/>
                  <a:pt x="111230" y="108161"/>
                </a:cubicBezTo>
                <a:lnTo>
                  <a:pt x="111230" y="72944"/>
                </a:lnTo>
                <a:cubicBezTo>
                  <a:pt x="111230" y="68479"/>
                  <a:pt x="114868" y="64842"/>
                  <a:pt x="119332" y="64842"/>
                </a:cubicBezTo>
                <a:lnTo>
                  <a:pt x="143480" y="64842"/>
                </a:lnTo>
                <a:cubicBezTo>
                  <a:pt x="147944" y="64842"/>
                  <a:pt x="151582" y="68479"/>
                  <a:pt x="151582" y="72944"/>
                </a:cubicBezTo>
                <a:close/>
                <a:moveTo>
                  <a:pt x="199960" y="196900"/>
                </a:moveTo>
                <a:lnTo>
                  <a:pt x="199960" y="172743"/>
                </a:lnTo>
                <a:cubicBezTo>
                  <a:pt x="199960" y="168278"/>
                  <a:pt x="203597" y="164641"/>
                  <a:pt x="208071" y="164641"/>
                </a:cubicBezTo>
                <a:lnTo>
                  <a:pt x="243278" y="164641"/>
                </a:lnTo>
                <a:cubicBezTo>
                  <a:pt x="247752" y="164641"/>
                  <a:pt x="251390" y="168278"/>
                  <a:pt x="251390" y="172743"/>
                </a:cubicBezTo>
                <a:lnTo>
                  <a:pt x="251390" y="196900"/>
                </a:lnTo>
                <a:cubicBezTo>
                  <a:pt x="251390" y="201364"/>
                  <a:pt x="247752" y="205002"/>
                  <a:pt x="243278" y="205002"/>
                </a:cubicBezTo>
                <a:lnTo>
                  <a:pt x="208071" y="205002"/>
                </a:lnTo>
                <a:cubicBezTo>
                  <a:pt x="203597" y="205002"/>
                  <a:pt x="199960" y="201364"/>
                  <a:pt x="199960" y="196900"/>
                </a:cubicBezTo>
                <a:close/>
                <a:moveTo>
                  <a:pt x="242748" y="153218"/>
                </a:moveTo>
                <a:lnTo>
                  <a:pt x="208071" y="153218"/>
                </a:lnTo>
                <a:cubicBezTo>
                  <a:pt x="206219" y="153218"/>
                  <a:pt x="204463" y="153560"/>
                  <a:pt x="202765" y="154043"/>
                </a:cubicBezTo>
                <a:cubicBezTo>
                  <a:pt x="194962" y="135868"/>
                  <a:pt x="180373" y="121228"/>
                  <a:pt x="162217" y="113346"/>
                </a:cubicBezTo>
                <a:cubicBezTo>
                  <a:pt x="162678" y="111684"/>
                  <a:pt x="163004" y="109968"/>
                  <a:pt x="163004" y="108161"/>
                </a:cubicBezTo>
                <a:lnTo>
                  <a:pt x="163004" y="73285"/>
                </a:lnTo>
                <a:cubicBezTo>
                  <a:pt x="201808" y="84213"/>
                  <a:pt x="231905" y="114381"/>
                  <a:pt x="242748" y="153218"/>
                </a:cubicBezTo>
                <a:close/>
                <a:moveTo>
                  <a:pt x="131406" y="11423"/>
                </a:moveTo>
                <a:cubicBezTo>
                  <a:pt x="146696" y="11423"/>
                  <a:pt x="161076" y="32150"/>
                  <a:pt x="167880" y="62844"/>
                </a:cubicBezTo>
                <a:cubicBezTo>
                  <a:pt x="164741" y="61910"/>
                  <a:pt x="161552" y="61089"/>
                  <a:pt x="158310" y="60390"/>
                </a:cubicBezTo>
                <a:cubicBezTo>
                  <a:pt x="154727" y="56164"/>
                  <a:pt x="149446" y="53420"/>
                  <a:pt x="143480" y="53420"/>
                </a:cubicBezTo>
                <a:lnTo>
                  <a:pt x="119332" y="53420"/>
                </a:lnTo>
                <a:cubicBezTo>
                  <a:pt x="113366" y="53420"/>
                  <a:pt x="108085" y="56164"/>
                  <a:pt x="104502" y="60390"/>
                </a:cubicBezTo>
                <a:cubicBezTo>
                  <a:pt x="101260" y="61089"/>
                  <a:pt x="98071" y="61910"/>
                  <a:pt x="94932" y="62844"/>
                </a:cubicBezTo>
                <a:cubicBezTo>
                  <a:pt x="101736" y="32150"/>
                  <a:pt x="116115" y="11423"/>
                  <a:pt x="131406" y="11423"/>
                </a:cubicBezTo>
                <a:close/>
                <a:moveTo>
                  <a:pt x="99808" y="73285"/>
                </a:moveTo>
                <a:lnTo>
                  <a:pt x="99808" y="108161"/>
                </a:lnTo>
                <a:cubicBezTo>
                  <a:pt x="99808" y="109968"/>
                  <a:pt x="100133" y="111684"/>
                  <a:pt x="100594" y="113346"/>
                </a:cubicBezTo>
                <a:cubicBezTo>
                  <a:pt x="82439" y="121228"/>
                  <a:pt x="67850" y="135868"/>
                  <a:pt x="60047" y="154043"/>
                </a:cubicBezTo>
                <a:cubicBezTo>
                  <a:pt x="58349" y="153560"/>
                  <a:pt x="56593" y="153218"/>
                  <a:pt x="54741" y="153218"/>
                </a:cubicBezTo>
                <a:lnTo>
                  <a:pt x="20064" y="153218"/>
                </a:lnTo>
                <a:cubicBezTo>
                  <a:pt x="30906" y="114381"/>
                  <a:pt x="61004" y="84213"/>
                  <a:pt x="99808" y="73285"/>
                </a:cubicBezTo>
                <a:close/>
                <a:moveTo>
                  <a:pt x="20178" y="216424"/>
                </a:moveTo>
                <a:lnTo>
                  <a:pt x="54741" y="216424"/>
                </a:lnTo>
                <a:cubicBezTo>
                  <a:pt x="56666" y="216424"/>
                  <a:pt x="58489" y="216059"/>
                  <a:pt x="60248" y="215538"/>
                </a:cubicBezTo>
                <a:cubicBezTo>
                  <a:pt x="68129" y="233563"/>
                  <a:pt x="82685" y="248058"/>
                  <a:pt x="100733" y="255854"/>
                </a:cubicBezTo>
                <a:cubicBezTo>
                  <a:pt x="100188" y="257648"/>
                  <a:pt x="99808" y="259512"/>
                  <a:pt x="99808" y="261481"/>
                </a:cubicBezTo>
                <a:lnTo>
                  <a:pt x="99808" y="295863"/>
                </a:lnTo>
                <a:cubicBezTo>
                  <a:pt x="61203" y="284978"/>
                  <a:pt x="31143" y="254983"/>
                  <a:pt x="20178" y="216424"/>
                </a:cubicBezTo>
                <a:close/>
                <a:moveTo>
                  <a:pt x="143480" y="304800"/>
                </a:moveTo>
                <a:lnTo>
                  <a:pt x="119332" y="304800"/>
                </a:lnTo>
                <a:cubicBezTo>
                  <a:pt x="114868" y="304800"/>
                  <a:pt x="111230" y="301163"/>
                  <a:pt x="111230" y="296698"/>
                </a:cubicBezTo>
                <a:lnTo>
                  <a:pt x="111230" y="261481"/>
                </a:lnTo>
                <a:cubicBezTo>
                  <a:pt x="111230" y="257017"/>
                  <a:pt x="114868" y="253380"/>
                  <a:pt x="119332" y="253380"/>
                </a:cubicBezTo>
                <a:lnTo>
                  <a:pt x="143480" y="253380"/>
                </a:lnTo>
                <a:cubicBezTo>
                  <a:pt x="147944" y="253380"/>
                  <a:pt x="151582" y="257017"/>
                  <a:pt x="151582" y="261481"/>
                </a:cubicBezTo>
                <a:lnTo>
                  <a:pt x="151582" y="296698"/>
                </a:lnTo>
                <a:cubicBezTo>
                  <a:pt x="151582" y="301163"/>
                  <a:pt x="147944" y="304800"/>
                  <a:pt x="143480" y="304800"/>
                </a:cubicBezTo>
                <a:close/>
                <a:moveTo>
                  <a:pt x="163004" y="295863"/>
                </a:moveTo>
                <a:lnTo>
                  <a:pt x="163004" y="261481"/>
                </a:lnTo>
                <a:cubicBezTo>
                  <a:pt x="163004" y="259512"/>
                  <a:pt x="162624" y="257648"/>
                  <a:pt x="162079" y="255854"/>
                </a:cubicBezTo>
                <a:cubicBezTo>
                  <a:pt x="180127" y="248058"/>
                  <a:pt x="194682" y="233563"/>
                  <a:pt x="202564" y="215538"/>
                </a:cubicBezTo>
                <a:cubicBezTo>
                  <a:pt x="204323" y="216059"/>
                  <a:pt x="206146" y="216424"/>
                  <a:pt x="208071" y="216424"/>
                </a:cubicBezTo>
                <a:lnTo>
                  <a:pt x="242634" y="216424"/>
                </a:lnTo>
                <a:cubicBezTo>
                  <a:pt x="231669" y="254983"/>
                  <a:pt x="201609" y="284978"/>
                  <a:pt x="163004" y="295863"/>
                </a:cubicBezTo>
                <a:close/>
              </a:path>
            </a:pathLst>
          </a:custGeom>
          <a:solidFill>
            <a:srgbClr val="80C34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577672-85DC-582F-EDD3-0E1265B40C1F}"/>
              </a:ext>
            </a:extLst>
          </p:cNvPr>
          <p:cNvSpPr/>
          <p:nvPr/>
        </p:nvSpPr>
        <p:spPr>
          <a:xfrm>
            <a:off x="-3723" y="3444444"/>
            <a:ext cx="5169567" cy="34606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Medium" panose="02000000000000000000" pitchFamily="50" charset="0"/>
                <a:ea typeface="+mn-ea"/>
                <a:cs typeface="+mn-cs"/>
              </a:rPr>
              <a:t>1. HEALTHY LIVING</a:t>
            </a:r>
          </a:p>
        </p:txBody>
      </p:sp>
      <p:sp>
        <p:nvSpPr>
          <p:cNvPr id="231" name="Oval 230">
            <a:extLst>
              <a:ext uri="{FF2B5EF4-FFF2-40B4-BE49-F238E27FC236}">
                <a16:creationId xmlns:a16="http://schemas.microsoft.com/office/drawing/2014/main" id="{AA933E34-3B64-8C4E-BCFA-EF355F0AA69D}"/>
              </a:ext>
            </a:extLst>
          </p:cNvPr>
          <p:cNvSpPr/>
          <p:nvPr/>
        </p:nvSpPr>
        <p:spPr>
          <a:xfrm>
            <a:off x="2477901" y="2379853"/>
            <a:ext cx="195016" cy="19501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object 36">
            <a:extLst>
              <a:ext uri="{FF2B5EF4-FFF2-40B4-BE49-F238E27FC236}">
                <a16:creationId xmlns:a16="http://schemas.microsoft.com/office/drawing/2014/main" id="{B20867D1-F807-3497-DC38-94EE4541F472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259482" y="1132621"/>
            <a:ext cx="1146842" cy="1492546"/>
          </a:xfrm>
          <a:prstGeom prst="rect">
            <a:avLst/>
          </a:prstGeom>
        </p:spPr>
      </p:pic>
      <p:sp>
        <p:nvSpPr>
          <p:cNvPr id="127" name="Rectangle 126">
            <a:extLst>
              <a:ext uri="{FF2B5EF4-FFF2-40B4-BE49-F238E27FC236}">
                <a16:creationId xmlns:a16="http://schemas.microsoft.com/office/drawing/2014/main" id="{252470C6-D934-4375-A2F0-31745B0CA802}"/>
              </a:ext>
            </a:extLst>
          </p:cNvPr>
          <p:cNvSpPr/>
          <p:nvPr/>
        </p:nvSpPr>
        <p:spPr>
          <a:xfrm>
            <a:off x="-3723" y="3011459"/>
            <a:ext cx="5169567" cy="36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t>Engagement tools</a:t>
            </a:r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038AE5E7-5728-C67D-66D9-2AE0890D046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1908" y="6536339"/>
            <a:ext cx="80150" cy="1384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D8D59-B415-4074-B425-DC47C63101D6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 panose="020000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0440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973FBF55-FAF1-4547-9912-DD649D4AAD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527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EFD287A-D867-4BA0-82CD-2604331D62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795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Rectangle 82">
            <a:extLst>
              <a:ext uri="{FF2B5EF4-FFF2-40B4-BE49-F238E27FC236}">
                <a16:creationId xmlns:a16="http://schemas.microsoft.com/office/drawing/2014/main" id="{7DCCC2A5-AFC2-FBBD-5240-05FC21CA7E01}"/>
              </a:ext>
            </a:extLst>
          </p:cNvPr>
          <p:cNvSpPr/>
          <p:nvPr/>
        </p:nvSpPr>
        <p:spPr>
          <a:xfrm>
            <a:off x="0" y="1567424"/>
            <a:ext cx="11938071" cy="44536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8252DF2-C788-464D-FDDB-6280A17968F9}"/>
              </a:ext>
            </a:extLst>
          </p:cNvPr>
          <p:cNvSpPr/>
          <p:nvPr/>
        </p:nvSpPr>
        <p:spPr>
          <a:xfrm>
            <a:off x="8980459" y="1567424"/>
            <a:ext cx="3211541" cy="445363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2" name="Object 61" hidden="1">
            <a:extLst>
              <a:ext uri="{FF2B5EF4-FFF2-40B4-BE49-F238E27FC236}">
                <a16:creationId xmlns:a16="http://schemas.microsoft.com/office/drawing/2014/main" id="{04FE5F58-40B1-7034-3C1F-F366323660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2" name="Object 61" hidden="1">
                        <a:extLst>
                          <a:ext uri="{FF2B5EF4-FFF2-40B4-BE49-F238E27FC236}">
                            <a16:creationId xmlns:a16="http://schemas.microsoft.com/office/drawing/2014/main" id="{04FE5F58-40B1-7034-3C1F-F366323660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991A98-C55C-42F4-8D44-CEFEBFDBA5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AU"/>
              <a:t> 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0D39A770-80B8-4AC8-B3D4-D8A6B1F056E1}"/>
              </a:ext>
            </a:extLst>
          </p:cNvPr>
          <p:cNvSpPr txBox="1">
            <a:spLocks/>
          </p:cNvSpPr>
          <p:nvPr/>
        </p:nvSpPr>
        <p:spPr>
          <a:xfrm>
            <a:off x="507529" y="6555192"/>
            <a:ext cx="11702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D8D59-B415-4074-B425-DC47C63101D6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 panose="02000000000000000000" pitchFamily="50" charset="0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07B3F0C-D6C1-A4A9-BD31-E8F2FA148C0D}"/>
              </a:ext>
            </a:extLst>
          </p:cNvPr>
          <p:cNvSpPr txBox="1"/>
          <p:nvPr/>
        </p:nvSpPr>
        <p:spPr>
          <a:xfrm>
            <a:off x="9311387" y="1850681"/>
            <a:ext cx="2568005" cy="375487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Bold"/>
                <a:ea typeface="Calibri" panose="020F0502020204030204" pitchFamily="34" charset="0"/>
                <a:cs typeface="Arial"/>
              </a:rPr>
              <a:t>DELIVERING LEADING HEALTH OUTCOMES IN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2FB3B6"/>
                </a:solidFill>
                <a:effectLst/>
                <a:uLnTx/>
                <a:uFillTx/>
                <a:latin typeface="Pluto Sans Bold"/>
                <a:ea typeface="+mn-ea"/>
                <a:cs typeface="Arial"/>
              </a:rPr>
              <a:t>81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03D45"/>
              </a:buClr>
              <a:buSzPts val="1000"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+mn-ea"/>
                <a:cs typeface="Arial"/>
              </a:rPr>
              <a:t>Proportion of employees who increased their capacity for work or were working following TAL Health for Life support service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2FB3B6"/>
                </a:solidFill>
                <a:effectLst/>
                <a:uLnTx/>
                <a:uFillTx/>
                <a:latin typeface="Pluto Sans Bold"/>
                <a:ea typeface="+mn-ea"/>
                <a:cs typeface="Arial"/>
              </a:rPr>
              <a:t>1,961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srgbClr val="2FB3B6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03D45"/>
              </a:buClr>
              <a:buSzPts val="1000"/>
              <a:buFontTx/>
              <a:buNone/>
              <a:tabLst/>
              <a:defRPr/>
            </a:pPr>
            <a:r>
              <a:rPr kumimoji="0" lang="en-AU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+mn-ea"/>
                <a:cs typeface="Arial"/>
              </a:rPr>
              <a:t>Number of TAL Health for Life support services engaged by income protection claimants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03D45"/>
              </a:buClr>
              <a:buSzPts val="1000"/>
              <a:buFontTx/>
              <a:buNone/>
              <a:tabLst/>
              <a:defRPr/>
            </a:pPr>
            <a:r>
              <a:rPr kumimoji="0" lang="en" sz="2400" b="0" i="0" u="none" strike="noStrike" kern="1200" cap="none" spc="0" normalizeH="0" baseline="0" noProof="0" dirty="0">
                <a:ln>
                  <a:noFill/>
                </a:ln>
                <a:solidFill>
                  <a:srgbClr val="2FB3B6"/>
                </a:solidFill>
                <a:effectLst/>
                <a:uLnTx/>
                <a:uFillTx/>
                <a:latin typeface="Pluto Sans Bold"/>
                <a:ea typeface="+mn-ea"/>
                <a:cs typeface="Arial"/>
                <a:sym typeface="Arial"/>
              </a:rPr>
              <a:t>35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303D45"/>
              </a:buClr>
              <a:buSzPts val="1000"/>
              <a:buFontTx/>
              <a:buNone/>
              <a:tabLst/>
              <a:defRPr/>
            </a:pPr>
            <a:r>
              <a:rPr kumimoji="0" lang="en" sz="105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+mn-ea"/>
                <a:cs typeface="Arial"/>
                <a:sym typeface="Arial"/>
              </a:rPr>
              <a:t>Specialist health providers  supporting members to participate in evidence-based programs.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783B353-3191-82A0-97A8-2A25F386EEBF}"/>
              </a:ext>
            </a:extLst>
          </p:cNvPr>
          <p:cNvGrpSpPr/>
          <p:nvPr/>
        </p:nvGrpSpPr>
        <p:grpSpPr>
          <a:xfrm>
            <a:off x="10548385" y="6136640"/>
            <a:ext cx="1647596" cy="721360"/>
            <a:chOff x="8408193" y="6202221"/>
            <a:chExt cx="1497807" cy="655778"/>
          </a:xfrm>
          <a:solidFill>
            <a:schemeClr val="tx1"/>
          </a:solidFill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F5B3098-DB0A-C561-43F1-15332B26B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408193" y="6202221"/>
              <a:ext cx="1497807" cy="655778"/>
            </a:xfrm>
            <a:custGeom>
              <a:avLst/>
              <a:gdLst>
                <a:gd name="connsiteX0" fmla="*/ 1385888 w 1497807"/>
                <a:gd name="connsiteY0" fmla="*/ 0 h 655778"/>
                <a:gd name="connsiteX1" fmla="*/ 1497807 w 1497807"/>
                <a:gd name="connsiteY1" fmla="*/ 0 h 655778"/>
                <a:gd name="connsiteX2" fmla="*/ 1497807 w 1497807"/>
                <a:gd name="connsiteY2" fmla="*/ 655777 h 655778"/>
                <a:gd name="connsiteX3" fmla="*/ 1397794 w 1497807"/>
                <a:gd name="connsiteY3" fmla="*/ 655777 h 655778"/>
                <a:gd name="connsiteX4" fmla="*/ 1397794 w 1497807"/>
                <a:gd name="connsiteY4" fmla="*/ 655778 h 655778"/>
                <a:gd name="connsiteX5" fmla="*/ 1174933 w 1497807"/>
                <a:gd name="connsiteY5" fmla="*/ 655778 h 655778"/>
                <a:gd name="connsiteX6" fmla="*/ 1093814 w 1497807"/>
                <a:gd name="connsiteY6" fmla="*/ 655778 h 655778"/>
                <a:gd name="connsiteX7" fmla="*/ 0 w 1497807"/>
                <a:gd name="connsiteY7" fmla="*/ 655778 h 655778"/>
                <a:gd name="connsiteX8" fmla="*/ 176641 w 1497807"/>
                <a:gd name="connsiteY8" fmla="*/ 217998 h 655778"/>
                <a:gd name="connsiteX9" fmla="*/ 481749 w 1497807"/>
                <a:gd name="connsiteY9" fmla="*/ 1 h 655778"/>
                <a:gd name="connsiteX10" fmla="*/ 946128 w 1497807"/>
                <a:gd name="connsiteY10" fmla="*/ 1 h 655778"/>
                <a:gd name="connsiteX11" fmla="*/ 1093814 w 1497807"/>
                <a:gd name="connsiteY11" fmla="*/ 1 h 655778"/>
                <a:gd name="connsiteX12" fmla="*/ 1174933 w 1497807"/>
                <a:gd name="connsiteY12" fmla="*/ 1 h 655778"/>
                <a:gd name="connsiteX13" fmla="*/ 1385888 w 1497807"/>
                <a:gd name="connsiteY13" fmla="*/ 1 h 655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7807" h="655778">
                  <a:moveTo>
                    <a:pt x="1385888" y="0"/>
                  </a:moveTo>
                  <a:lnTo>
                    <a:pt x="1497807" y="0"/>
                  </a:lnTo>
                  <a:lnTo>
                    <a:pt x="1497807" y="655777"/>
                  </a:lnTo>
                  <a:lnTo>
                    <a:pt x="1397794" y="655777"/>
                  </a:lnTo>
                  <a:lnTo>
                    <a:pt x="1397794" y="655778"/>
                  </a:lnTo>
                  <a:lnTo>
                    <a:pt x="1174933" y="655778"/>
                  </a:lnTo>
                  <a:lnTo>
                    <a:pt x="1093814" y="655778"/>
                  </a:lnTo>
                  <a:lnTo>
                    <a:pt x="0" y="655778"/>
                  </a:lnTo>
                  <a:cubicBezTo>
                    <a:pt x="0" y="655778"/>
                    <a:pt x="0" y="655778"/>
                    <a:pt x="176641" y="217998"/>
                  </a:cubicBezTo>
                  <a:cubicBezTo>
                    <a:pt x="264070" y="1"/>
                    <a:pt x="481749" y="1"/>
                    <a:pt x="481749" y="1"/>
                  </a:cubicBezTo>
                  <a:cubicBezTo>
                    <a:pt x="481749" y="1"/>
                    <a:pt x="481749" y="1"/>
                    <a:pt x="946128" y="1"/>
                  </a:cubicBezTo>
                  <a:lnTo>
                    <a:pt x="1093814" y="1"/>
                  </a:lnTo>
                  <a:lnTo>
                    <a:pt x="1174933" y="1"/>
                  </a:lnTo>
                  <a:lnTo>
                    <a:pt x="138588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63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E0C0F792-F055-5966-957D-4B0414093E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46260" y="6443009"/>
              <a:ext cx="511319" cy="202665"/>
            </a:xfrm>
            <a:custGeom>
              <a:avLst/>
              <a:gdLst>
                <a:gd name="T0" fmla="*/ 590 w 609"/>
                <a:gd name="T1" fmla="*/ 228 h 241"/>
                <a:gd name="T2" fmla="*/ 609 w 609"/>
                <a:gd name="T3" fmla="*/ 183 h 241"/>
                <a:gd name="T4" fmla="*/ 493 w 609"/>
                <a:gd name="T5" fmla="*/ 183 h 241"/>
                <a:gd name="T6" fmla="*/ 493 w 609"/>
                <a:gd name="T7" fmla="*/ 0 h 241"/>
                <a:gd name="T8" fmla="*/ 426 w 609"/>
                <a:gd name="T9" fmla="*/ 0 h 241"/>
                <a:gd name="T10" fmla="*/ 426 w 609"/>
                <a:gd name="T11" fmla="*/ 241 h 241"/>
                <a:gd name="T12" fmla="*/ 516 w 609"/>
                <a:gd name="T13" fmla="*/ 241 h 241"/>
                <a:gd name="T14" fmla="*/ 570 w 609"/>
                <a:gd name="T15" fmla="*/ 241 h 241"/>
                <a:gd name="T16" fmla="*/ 590 w 609"/>
                <a:gd name="T17" fmla="*/ 228 h 241"/>
                <a:gd name="T18" fmla="*/ 413 w 609"/>
                <a:gd name="T19" fmla="*/ 219 h 241"/>
                <a:gd name="T20" fmla="*/ 412 w 609"/>
                <a:gd name="T21" fmla="*/ 211 h 241"/>
                <a:gd name="T22" fmla="*/ 411 w 609"/>
                <a:gd name="T23" fmla="*/ 210 h 241"/>
                <a:gd name="T24" fmla="*/ 323 w 609"/>
                <a:gd name="T25" fmla="*/ 0 h 241"/>
                <a:gd name="T26" fmla="*/ 259 w 609"/>
                <a:gd name="T27" fmla="*/ 0 h 241"/>
                <a:gd name="T28" fmla="*/ 158 w 609"/>
                <a:gd name="T29" fmla="*/ 241 h 241"/>
                <a:gd name="T30" fmla="*/ 227 w 609"/>
                <a:gd name="T31" fmla="*/ 241 h 241"/>
                <a:gd name="T32" fmla="*/ 291 w 609"/>
                <a:gd name="T33" fmla="*/ 79 h 241"/>
                <a:gd name="T34" fmla="*/ 317 w 609"/>
                <a:gd name="T35" fmla="*/ 147 h 241"/>
                <a:gd name="T36" fmla="*/ 280 w 609"/>
                <a:gd name="T37" fmla="*/ 147 h 241"/>
                <a:gd name="T38" fmla="*/ 260 w 609"/>
                <a:gd name="T39" fmla="*/ 199 h 241"/>
                <a:gd name="T40" fmla="*/ 336 w 609"/>
                <a:gd name="T41" fmla="*/ 199 h 241"/>
                <a:gd name="T42" fmla="*/ 354 w 609"/>
                <a:gd name="T43" fmla="*/ 241 h 241"/>
                <a:gd name="T44" fmla="*/ 391 w 609"/>
                <a:gd name="T45" fmla="*/ 241 h 241"/>
                <a:gd name="T46" fmla="*/ 413 w 609"/>
                <a:gd name="T47" fmla="*/ 219 h 241"/>
                <a:gd name="T48" fmla="*/ 213 w 609"/>
                <a:gd name="T49" fmla="*/ 45 h 241"/>
                <a:gd name="T50" fmla="*/ 232 w 609"/>
                <a:gd name="T51" fmla="*/ 0 h 241"/>
                <a:gd name="T52" fmla="*/ 0 w 609"/>
                <a:gd name="T53" fmla="*/ 0 h 241"/>
                <a:gd name="T54" fmla="*/ 0 w 609"/>
                <a:gd name="T55" fmla="*/ 59 h 241"/>
                <a:gd name="T56" fmla="*/ 72 w 609"/>
                <a:gd name="T57" fmla="*/ 59 h 241"/>
                <a:gd name="T58" fmla="*/ 72 w 609"/>
                <a:gd name="T59" fmla="*/ 241 h 241"/>
                <a:gd name="T60" fmla="*/ 139 w 609"/>
                <a:gd name="T61" fmla="*/ 241 h 241"/>
                <a:gd name="T62" fmla="*/ 139 w 609"/>
                <a:gd name="T63" fmla="*/ 59 h 241"/>
                <a:gd name="T64" fmla="*/ 193 w 609"/>
                <a:gd name="T65" fmla="*/ 59 h 241"/>
                <a:gd name="T66" fmla="*/ 213 w 609"/>
                <a:gd name="T67" fmla="*/ 45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9" h="241">
                  <a:moveTo>
                    <a:pt x="590" y="228"/>
                  </a:moveTo>
                  <a:cubicBezTo>
                    <a:pt x="609" y="183"/>
                    <a:pt x="609" y="183"/>
                    <a:pt x="609" y="183"/>
                  </a:cubicBezTo>
                  <a:cubicBezTo>
                    <a:pt x="493" y="183"/>
                    <a:pt x="493" y="183"/>
                    <a:pt x="493" y="183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41"/>
                    <a:pt x="426" y="241"/>
                    <a:pt x="426" y="241"/>
                  </a:cubicBezTo>
                  <a:cubicBezTo>
                    <a:pt x="516" y="241"/>
                    <a:pt x="516" y="241"/>
                    <a:pt x="516" y="241"/>
                  </a:cubicBezTo>
                  <a:cubicBezTo>
                    <a:pt x="570" y="241"/>
                    <a:pt x="570" y="241"/>
                    <a:pt x="570" y="241"/>
                  </a:cubicBezTo>
                  <a:cubicBezTo>
                    <a:pt x="579" y="241"/>
                    <a:pt x="587" y="236"/>
                    <a:pt x="590" y="228"/>
                  </a:cubicBezTo>
                  <a:close/>
                  <a:moveTo>
                    <a:pt x="413" y="219"/>
                  </a:moveTo>
                  <a:cubicBezTo>
                    <a:pt x="413" y="216"/>
                    <a:pt x="413" y="214"/>
                    <a:pt x="412" y="211"/>
                  </a:cubicBezTo>
                  <a:cubicBezTo>
                    <a:pt x="411" y="210"/>
                    <a:pt x="411" y="210"/>
                    <a:pt x="411" y="21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158" y="241"/>
                    <a:pt x="158" y="241"/>
                    <a:pt x="158" y="241"/>
                  </a:cubicBezTo>
                  <a:cubicBezTo>
                    <a:pt x="227" y="241"/>
                    <a:pt x="227" y="241"/>
                    <a:pt x="227" y="241"/>
                  </a:cubicBezTo>
                  <a:cubicBezTo>
                    <a:pt x="291" y="79"/>
                    <a:pt x="291" y="79"/>
                    <a:pt x="291" y="79"/>
                  </a:cubicBezTo>
                  <a:cubicBezTo>
                    <a:pt x="317" y="147"/>
                    <a:pt x="317" y="147"/>
                    <a:pt x="317" y="147"/>
                  </a:cubicBezTo>
                  <a:cubicBezTo>
                    <a:pt x="280" y="147"/>
                    <a:pt x="280" y="147"/>
                    <a:pt x="280" y="147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336" y="199"/>
                    <a:pt x="336" y="199"/>
                    <a:pt x="336" y="199"/>
                  </a:cubicBezTo>
                  <a:cubicBezTo>
                    <a:pt x="354" y="241"/>
                    <a:pt x="354" y="241"/>
                    <a:pt x="354" y="241"/>
                  </a:cubicBezTo>
                  <a:cubicBezTo>
                    <a:pt x="391" y="241"/>
                    <a:pt x="391" y="241"/>
                    <a:pt x="391" y="241"/>
                  </a:cubicBezTo>
                  <a:cubicBezTo>
                    <a:pt x="404" y="241"/>
                    <a:pt x="413" y="231"/>
                    <a:pt x="413" y="219"/>
                  </a:cubicBezTo>
                  <a:moveTo>
                    <a:pt x="213" y="45"/>
                  </a:moveTo>
                  <a:cubicBezTo>
                    <a:pt x="232" y="0"/>
                    <a:pt x="232" y="0"/>
                    <a:pt x="2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241"/>
                    <a:pt x="72" y="241"/>
                    <a:pt x="72" y="241"/>
                  </a:cubicBezTo>
                  <a:cubicBezTo>
                    <a:pt x="139" y="241"/>
                    <a:pt x="139" y="241"/>
                    <a:pt x="139" y="241"/>
                  </a:cubicBezTo>
                  <a:cubicBezTo>
                    <a:pt x="139" y="59"/>
                    <a:pt x="139" y="59"/>
                    <a:pt x="139" y="59"/>
                  </a:cubicBezTo>
                  <a:cubicBezTo>
                    <a:pt x="193" y="59"/>
                    <a:pt x="193" y="59"/>
                    <a:pt x="193" y="59"/>
                  </a:cubicBezTo>
                  <a:cubicBezTo>
                    <a:pt x="202" y="59"/>
                    <a:pt x="210" y="53"/>
                    <a:pt x="213" y="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63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BC4B8461-C82F-F91E-42BF-49053E5F0535}"/>
              </a:ext>
            </a:extLst>
          </p:cNvPr>
          <p:cNvGrpSpPr>
            <a:grpSpLocks noChangeAspect="1"/>
          </p:cNvGrpSpPr>
          <p:nvPr/>
        </p:nvGrpSpPr>
        <p:grpSpPr>
          <a:xfrm>
            <a:off x="486692" y="1654364"/>
            <a:ext cx="8047708" cy="4374881"/>
            <a:chOff x="437800" y="1711641"/>
            <a:chExt cx="8056438" cy="4374881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C35D1F25-4F92-406F-914F-18E12495E54D}"/>
                </a:ext>
              </a:extLst>
            </p:cNvPr>
            <p:cNvCxnSpPr>
              <a:cxnSpLocks/>
            </p:cNvCxnSpPr>
            <p:nvPr/>
          </p:nvCxnSpPr>
          <p:spPr>
            <a:xfrm>
              <a:off x="1647763" y="1934618"/>
              <a:ext cx="5400000" cy="0"/>
            </a:xfrm>
            <a:prstGeom prst="line">
              <a:avLst/>
            </a:prstGeom>
            <a:ln w="9525" cap="flat" cmpd="sng" algn="ctr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24489628-9D5D-46F1-B96D-4F5CBD875901}"/>
                </a:ext>
              </a:extLst>
            </p:cNvPr>
            <p:cNvCxnSpPr>
              <a:cxnSpLocks/>
            </p:cNvCxnSpPr>
            <p:nvPr/>
          </p:nvCxnSpPr>
          <p:spPr>
            <a:xfrm>
              <a:off x="1647764" y="3242149"/>
              <a:ext cx="5400000" cy="0"/>
            </a:xfrm>
            <a:prstGeom prst="line">
              <a:avLst/>
            </a:prstGeom>
            <a:ln w="9525" cap="flat" cmpd="sng" algn="ctr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5DAA729B-247C-4423-823B-39F0CEE4E564}"/>
                </a:ext>
              </a:extLst>
            </p:cNvPr>
            <p:cNvCxnSpPr>
              <a:cxnSpLocks/>
            </p:cNvCxnSpPr>
            <p:nvPr/>
          </p:nvCxnSpPr>
          <p:spPr>
            <a:xfrm>
              <a:off x="1647763" y="4633330"/>
              <a:ext cx="5400000" cy="0"/>
            </a:xfrm>
            <a:prstGeom prst="line">
              <a:avLst/>
            </a:prstGeom>
            <a:ln w="9525" cap="flat" cmpd="sng" algn="ctr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FB80D545-35B9-4079-B9E4-007552FBA26F}"/>
                </a:ext>
              </a:extLst>
            </p:cNvPr>
            <p:cNvCxnSpPr>
              <a:cxnSpLocks/>
            </p:cNvCxnSpPr>
            <p:nvPr/>
          </p:nvCxnSpPr>
          <p:spPr>
            <a:xfrm>
              <a:off x="1647763" y="5841162"/>
              <a:ext cx="6480000" cy="0"/>
            </a:xfrm>
            <a:prstGeom prst="line">
              <a:avLst/>
            </a:prstGeom>
            <a:ln w="9525" cap="flat" cmpd="sng" algn="ctr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graphicFrame>
          <p:nvGraphicFramePr>
            <p:cNvPr id="8" name="2D Pie Chart">
              <a:extLst>
                <a:ext uri="{FF2B5EF4-FFF2-40B4-BE49-F238E27FC236}">
                  <a16:creationId xmlns:a16="http://schemas.microsoft.com/office/drawing/2014/main" id="{D39793D8-B457-4323-857C-D9A4662F4193}"/>
                </a:ext>
              </a:extLst>
            </p:cNvPr>
            <p:cNvGraphicFramePr/>
            <p:nvPr/>
          </p:nvGraphicFramePr>
          <p:xfrm>
            <a:off x="2207032" y="1711641"/>
            <a:ext cx="4374881" cy="43748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51A40B0-C61D-4361-B903-3DFC22A3A48D}"/>
                </a:ext>
              </a:extLst>
            </p:cNvPr>
            <p:cNvSpPr txBox="1"/>
            <p:nvPr/>
          </p:nvSpPr>
          <p:spPr>
            <a:xfrm>
              <a:off x="449340" y="1849980"/>
              <a:ext cx="1242335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Career Coaching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7F48D23-2980-4FE0-9315-108A91AEA050}"/>
                </a:ext>
              </a:extLst>
            </p:cNvPr>
            <p:cNvSpPr txBox="1"/>
            <p:nvPr/>
          </p:nvSpPr>
          <p:spPr>
            <a:xfrm>
              <a:off x="458023" y="3157510"/>
              <a:ext cx="1398715" cy="170087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Business Coaching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52A3AFD8-CEBF-45FD-B52F-3368CD1867F0}"/>
                </a:ext>
              </a:extLst>
            </p:cNvPr>
            <p:cNvSpPr txBox="1"/>
            <p:nvPr/>
          </p:nvSpPr>
          <p:spPr>
            <a:xfrm>
              <a:off x="437800" y="4502972"/>
              <a:ext cx="1178596" cy="323165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Return to Work Coaching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46837E3-6D93-45EC-ADEC-1CA268C7CC38}"/>
                </a:ext>
              </a:extLst>
            </p:cNvPr>
            <p:cNvSpPr txBox="1"/>
            <p:nvPr/>
          </p:nvSpPr>
          <p:spPr>
            <a:xfrm>
              <a:off x="449341" y="5756524"/>
              <a:ext cx="1526314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Work Conditioning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0682AF5-6483-4DCD-8710-5CA71DCA673E}"/>
                </a:ext>
              </a:extLst>
            </p:cNvPr>
            <p:cNvSpPr/>
            <p:nvPr/>
          </p:nvSpPr>
          <p:spPr>
            <a:xfrm>
              <a:off x="3601992" y="3106601"/>
              <a:ext cx="1584960" cy="158496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4" name="Graphic 141">
              <a:extLst>
                <a:ext uri="{FF2B5EF4-FFF2-40B4-BE49-F238E27FC236}">
                  <a16:creationId xmlns:a16="http://schemas.microsoft.com/office/drawing/2014/main" id="{633D138D-69D1-472E-A3BA-C1DB1076DB47}"/>
                </a:ext>
              </a:extLst>
            </p:cNvPr>
            <p:cNvGrpSpPr/>
            <p:nvPr/>
          </p:nvGrpSpPr>
          <p:grpSpPr>
            <a:xfrm>
              <a:off x="3510361" y="4917227"/>
              <a:ext cx="618403" cy="728757"/>
              <a:chOff x="1188526" y="5123540"/>
              <a:chExt cx="268337" cy="316222"/>
            </a:xfrm>
            <a:solidFill>
              <a:schemeClr val="bg1"/>
            </a:solidFill>
          </p:grpSpPr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2D7BC77-4444-4876-806F-34EF6112CC31}"/>
                  </a:ext>
                </a:extLst>
              </p:cNvPr>
              <p:cNvSpPr/>
              <p:nvPr/>
            </p:nvSpPr>
            <p:spPr>
              <a:xfrm>
                <a:off x="1188526" y="5123540"/>
                <a:ext cx="268337" cy="316222"/>
              </a:xfrm>
              <a:custGeom>
                <a:avLst/>
                <a:gdLst>
                  <a:gd name="connsiteX0" fmla="*/ 266339 w 268337"/>
                  <a:gd name="connsiteY0" fmla="*/ 179003 h 316222"/>
                  <a:gd name="connsiteX1" fmla="*/ 248312 w 268337"/>
                  <a:gd name="connsiteY1" fmla="*/ 138624 h 316222"/>
                  <a:gd name="connsiteX2" fmla="*/ 244917 w 268337"/>
                  <a:gd name="connsiteY2" fmla="*/ 122597 h 316222"/>
                  <a:gd name="connsiteX3" fmla="*/ 122059 w 268337"/>
                  <a:gd name="connsiteY3" fmla="*/ 0 h 316222"/>
                  <a:gd name="connsiteX4" fmla="*/ 252 w 268337"/>
                  <a:gd name="connsiteY4" fmla="*/ 115026 h 316222"/>
                  <a:gd name="connsiteX5" fmla="*/ 28771 w 268337"/>
                  <a:gd name="connsiteY5" fmla="*/ 201504 h 316222"/>
                  <a:gd name="connsiteX6" fmla="*/ 14130 w 268337"/>
                  <a:gd name="connsiteY6" fmla="*/ 252831 h 316222"/>
                  <a:gd name="connsiteX7" fmla="*/ 30948 w 268337"/>
                  <a:gd name="connsiteY7" fmla="*/ 283006 h 316222"/>
                  <a:gd name="connsiteX8" fmla="*/ 143769 w 268337"/>
                  <a:gd name="connsiteY8" fmla="*/ 315283 h 316222"/>
                  <a:gd name="connsiteX9" fmla="*/ 150532 w 268337"/>
                  <a:gd name="connsiteY9" fmla="*/ 316223 h 316222"/>
                  <a:gd name="connsiteX10" fmla="*/ 173991 w 268337"/>
                  <a:gd name="connsiteY10" fmla="*/ 298577 h 316222"/>
                  <a:gd name="connsiteX11" fmla="*/ 179934 w 268337"/>
                  <a:gd name="connsiteY11" fmla="*/ 277601 h 316222"/>
                  <a:gd name="connsiteX12" fmla="*/ 211812 w 268337"/>
                  <a:gd name="connsiteY12" fmla="*/ 277601 h 316222"/>
                  <a:gd name="connsiteX13" fmla="*/ 244954 w 268337"/>
                  <a:gd name="connsiteY13" fmla="*/ 244432 h 316222"/>
                  <a:gd name="connsiteX14" fmla="*/ 244954 w 268337"/>
                  <a:gd name="connsiteY14" fmla="*/ 210276 h 316222"/>
                  <a:gd name="connsiteX15" fmla="*/ 250479 w 268337"/>
                  <a:gd name="connsiteY15" fmla="*/ 210545 h 316222"/>
                  <a:gd name="connsiteX16" fmla="*/ 252479 w 268337"/>
                  <a:gd name="connsiteY16" fmla="*/ 210284 h 316222"/>
                  <a:gd name="connsiteX17" fmla="*/ 254721 w 268337"/>
                  <a:gd name="connsiteY17" fmla="*/ 209420 h 316222"/>
                  <a:gd name="connsiteX18" fmla="*/ 266339 w 268337"/>
                  <a:gd name="connsiteY18" fmla="*/ 179003 h 316222"/>
                  <a:gd name="connsiteX19" fmla="*/ 250014 w 268337"/>
                  <a:gd name="connsiteY19" fmla="*/ 199002 h 316222"/>
                  <a:gd name="connsiteX20" fmla="*/ 249865 w 268337"/>
                  <a:gd name="connsiteY20" fmla="*/ 199067 h 316222"/>
                  <a:gd name="connsiteX21" fmla="*/ 239521 w 268337"/>
                  <a:gd name="connsiteY21" fmla="*/ 198565 h 316222"/>
                  <a:gd name="connsiteX22" fmla="*/ 235299 w 268337"/>
                  <a:gd name="connsiteY22" fmla="*/ 200137 h 316222"/>
                  <a:gd name="connsiteX23" fmla="*/ 233531 w 268337"/>
                  <a:gd name="connsiteY23" fmla="*/ 204276 h 316222"/>
                  <a:gd name="connsiteX24" fmla="*/ 233531 w 268337"/>
                  <a:gd name="connsiteY24" fmla="*/ 244422 h 316222"/>
                  <a:gd name="connsiteX25" fmla="*/ 211802 w 268337"/>
                  <a:gd name="connsiteY25" fmla="*/ 266179 h 316222"/>
                  <a:gd name="connsiteX26" fmla="*/ 175609 w 268337"/>
                  <a:gd name="connsiteY26" fmla="*/ 266179 h 316222"/>
                  <a:gd name="connsiteX27" fmla="*/ 170111 w 268337"/>
                  <a:gd name="connsiteY27" fmla="*/ 270337 h 316222"/>
                  <a:gd name="connsiteX28" fmla="*/ 163014 w 268337"/>
                  <a:gd name="connsiteY28" fmla="*/ 295387 h 316222"/>
                  <a:gd name="connsiteX29" fmla="*/ 150503 w 268337"/>
                  <a:gd name="connsiteY29" fmla="*/ 304800 h 316222"/>
                  <a:gd name="connsiteX30" fmla="*/ 146894 w 268337"/>
                  <a:gd name="connsiteY30" fmla="*/ 304289 h 316222"/>
                  <a:gd name="connsiteX31" fmla="*/ 34120 w 268337"/>
                  <a:gd name="connsiteY31" fmla="*/ 272021 h 316222"/>
                  <a:gd name="connsiteX32" fmla="*/ 25134 w 268337"/>
                  <a:gd name="connsiteY32" fmla="*/ 255928 h 316222"/>
                  <a:gd name="connsiteX33" fmla="*/ 40612 w 268337"/>
                  <a:gd name="connsiteY33" fmla="*/ 201662 h 316222"/>
                  <a:gd name="connsiteX34" fmla="*/ 39376 w 268337"/>
                  <a:gd name="connsiteY34" fmla="*/ 196286 h 316222"/>
                  <a:gd name="connsiteX35" fmla="*/ 11656 w 268337"/>
                  <a:gd name="connsiteY35" fmla="*/ 115751 h 316222"/>
                  <a:gd name="connsiteX36" fmla="*/ 122441 w 268337"/>
                  <a:gd name="connsiteY36" fmla="*/ 11423 h 316222"/>
                  <a:gd name="connsiteX37" fmla="*/ 233494 w 268337"/>
                  <a:gd name="connsiteY37" fmla="*/ 122588 h 316222"/>
                  <a:gd name="connsiteX38" fmla="*/ 237875 w 268337"/>
                  <a:gd name="connsiteY38" fmla="*/ 143275 h 316222"/>
                  <a:gd name="connsiteX39" fmla="*/ 255902 w 268337"/>
                  <a:gd name="connsiteY39" fmla="*/ 183654 h 316222"/>
                  <a:gd name="connsiteX40" fmla="*/ 250014 w 268337"/>
                  <a:gd name="connsiteY40" fmla="*/ 199002 h 316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68337" h="316222">
                    <a:moveTo>
                      <a:pt x="266339" y="179003"/>
                    </a:moveTo>
                    <a:lnTo>
                      <a:pt x="248312" y="138624"/>
                    </a:lnTo>
                    <a:cubicBezTo>
                      <a:pt x="246051" y="133555"/>
                      <a:pt x="244917" y="128168"/>
                      <a:pt x="244917" y="122597"/>
                    </a:cubicBezTo>
                    <a:cubicBezTo>
                      <a:pt x="244917" y="54992"/>
                      <a:pt x="189980" y="0"/>
                      <a:pt x="122059" y="0"/>
                    </a:cubicBezTo>
                    <a:cubicBezTo>
                      <a:pt x="57765" y="270"/>
                      <a:pt x="4252" y="50806"/>
                      <a:pt x="252" y="115026"/>
                    </a:cubicBezTo>
                    <a:cubicBezTo>
                      <a:pt x="-1785" y="146307"/>
                      <a:pt x="8587" y="177636"/>
                      <a:pt x="28771" y="201504"/>
                    </a:cubicBezTo>
                    <a:lnTo>
                      <a:pt x="14130" y="252831"/>
                    </a:lnTo>
                    <a:cubicBezTo>
                      <a:pt x="10559" y="265732"/>
                      <a:pt x="18093" y="279258"/>
                      <a:pt x="30948" y="283006"/>
                    </a:cubicBezTo>
                    <a:lnTo>
                      <a:pt x="143769" y="315283"/>
                    </a:lnTo>
                    <a:cubicBezTo>
                      <a:pt x="145983" y="315906"/>
                      <a:pt x="148252" y="316223"/>
                      <a:pt x="150532" y="316223"/>
                    </a:cubicBezTo>
                    <a:cubicBezTo>
                      <a:pt x="161433" y="316176"/>
                      <a:pt x="170847" y="309116"/>
                      <a:pt x="173991" y="298577"/>
                    </a:cubicBezTo>
                    <a:lnTo>
                      <a:pt x="179934" y="277601"/>
                    </a:lnTo>
                    <a:lnTo>
                      <a:pt x="211812" y="277601"/>
                    </a:lnTo>
                    <a:cubicBezTo>
                      <a:pt x="230052" y="277583"/>
                      <a:pt x="244925" y="262709"/>
                      <a:pt x="244954" y="244432"/>
                    </a:cubicBezTo>
                    <a:lnTo>
                      <a:pt x="244954" y="210276"/>
                    </a:lnTo>
                    <a:lnTo>
                      <a:pt x="250479" y="210545"/>
                    </a:lnTo>
                    <a:cubicBezTo>
                      <a:pt x="251177" y="210564"/>
                      <a:pt x="251827" y="210489"/>
                      <a:pt x="252479" y="210284"/>
                    </a:cubicBezTo>
                    <a:cubicBezTo>
                      <a:pt x="253260" y="210034"/>
                      <a:pt x="254013" y="209736"/>
                      <a:pt x="254721" y="209420"/>
                    </a:cubicBezTo>
                    <a:cubicBezTo>
                      <a:pt x="266301" y="204239"/>
                      <a:pt x="271510" y="190593"/>
                      <a:pt x="266339" y="179003"/>
                    </a:cubicBezTo>
                    <a:close/>
                    <a:moveTo>
                      <a:pt x="250014" y="199002"/>
                    </a:moveTo>
                    <a:cubicBezTo>
                      <a:pt x="249967" y="199020"/>
                      <a:pt x="249912" y="199049"/>
                      <a:pt x="249865" y="199067"/>
                    </a:cubicBezTo>
                    <a:lnTo>
                      <a:pt x="239521" y="198565"/>
                    </a:lnTo>
                    <a:cubicBezTo>
                      <a:pt x="238024" y="198593"/>
                      <a:pt x="236442" y="199057"/>
                      <a:pt x="235299" y="200137"/>
                    </a:cubicBezTo>
                    <a:cubicBezTo>
                      <a:pt x="234163" y="201216"/>
                      <a:pt x="233531" y="202713"/>
                      <a:pt x="233531" y="204276"/>
                    </a:cubicBezTo>
                    <a:lnTo>
                      <a:pt x="233531" y="244422"/>
                    </a:lnTo>
                    <a:cubicBezTo>
                      <a:pt x="233503" y="256403"/>
                      <a:pt x="223755" y="266161"/>
                      <a:pt x="211802" y="266179"/>
                    </a:cubicBezTo>
                    <a:lnTo>
                      <a:pt x="175609" y="266179"/>
                    </a:lnTo>
                    <a:cubicBezTo>
                      <a:pt x="173051" y="266179"/>
                      <a:pt x="170810" y="267872"/>
                      <a:pt x="170111" y="270337"/>
                    </a:cubicBezTo>
                    <a:lnTo>
                      <a:pt x="163014" y="295387"/>
                    </a:lnTo>
                    <a:cubicBezTo>
                      <a:pt x="161349" y="300986"/>
                      <a:pt x="156308" y="304772"/>
                      <a:pt x="150503" y="304800"/>
                    </a:cubicBezTo>
                    <a:cubicBezTo>
                      <a:pt x="149294" y="304800"/>
                      <a:pt x="148076" y="304623"/>
                      <a:pt x="146894" y="304289"/>
                    </a:cubicBezTo>
                    <a:lnTo>
                      <a:pt x="34120" y="272021"/>
                    </a:lnTo>
                    <a:cubicBezTo>
                      <a:pt x="27265" y="270021"/>
                      <a:pt x="23237" y="262784"/>
                      <a:pt x="25134" y="255928"/>
                    </a:cubicBezTo>
                    <a:lnTo>
                      <a:pt x="40612" y="201662"/>
                    </a:lnTo>
                    <a:cubicBezTo>
                      <a:pt x="41152" y="199774"/>
                      <a:pt x="40687" y="197746"/>
                      <a:pt x="39376" y="196286"/>
                    </a:cubicBezTo>
                    <a:cubicBezTo>
                      <a:pt x="19851" y="174417"/>
                      <a:pt x="9749" y="145071"/>
                      <a:pt x="11656" y="115751"/>
                    </a:cubicBezTo>
                    <a:cubicBezTo>
                      <a:pt x="15293" y="57503"/>
                      <a:pt x="63811" y="11674"/>
                      <a:pt x="122441" y="11423"/>
                    </a:cubicBezTo>
                    <a:cubicBezTo>
                      <a:pt x="183674" y="11423"/>
                      <a:pt x="233494" y="61299"/>
                      <a:pt x="233494" y="122588"/>
                    </a:cubicBezTo>
                    <a:cubicBezTo>
                      <a:pt x="233475" y="129769"/>
                      <a:pt x="234955" y="136736"/>
                      <a:pt x="237875" y="143275"/>
                    </a:cubicBezTo>
                    <a:lnTo>
                      <a:pt x="255902" y="183654"/>
                    </a:lnTo>
                    <a:cubicBezTo>
                      <a:pt x="258506" y="189505"/>
                      <a:pt x="255883" y="196379"/>
                      <a:pt x="250014" y="1990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ABDC77CA-43AC-440E-A295-31C922EDA261}"/>
                  </a:ext>
                </a:extLst>
              </p:cNvPr>
              <p:cNvSpPr/>
              <p:nvPr/>
            </p:nvSpPr>
            <p:spPr>
              <a:xfrm>
                <a:off x="1234701" y="5161343"/>
                <a:ext cx="156278" cy="156279"/>
              </a:xfrm>
              <a:custGeom>
                <a:avLst/>
                <a:gdLst>
                  <a:gd name="connsiteX0" fmla="*/ 145238 w 156278"/>
                  <a:gd name="connsiteY0" fmla="*/ 61187 h 156279"/>
                  <a:gd name="connsiteX1" fmla="*/ 139601 w 156278"/>
                  <a:gd name="connsiteY1" fmla="*/ 61187 h 156279"/>
                  <a:gd name="connsiteX2" fmla="*/ 133601 w 156278"/>
                  <a:gd name="connsiteY2" fmla="*/ 46658 h 156279"/>
                  <a:gd name="connsiteX3" fmla="*/ 137554 w 156278"/>
                  <a:gd name="connsiteY3" fmla="*/ 42695 h 156279"/>
                  <a:gd name="connsiteX4" fmla="*/ 140810 w 156278"/>
                  <a:gd name="connsiteY4" fmla="*/ 34882 h 156279"/>
                  <a:gd name="connsiteX5" fmla="*/ 137573 w 156278"/>
                  <a:gd name="connsiteY5" fmla="*/ 27068 h 156279"/>
                  <a:gd name="connsiteX6" fmla="*/ 129229 w 156278"/>
                  <a:gd name="connsiteY6" fmla="*/ 18724 h 156279"/>
                  <a:gd name="connsiteX7" fmla="*/ 121426 w 156278"/>
                  <a:gd name="connsiteY7" fmla="*/ 15478 h 156279"/>
                  <a:gd name="connsiteX8" fmla="*/ 121407 w 156278"/>
                  <a:gd name="connsiteY8" fmla="*/ 15478 h 156279"/>
                  <a:gd name="connsiteX9" fmla="*/ 113593 w 156278"/>
                  <a:gd name="connsiteY9" fmla="*/ 18715 h 156279"/>
                  <a:gd name="connsiteX10" fmla="*/ 109612 w 156278"/>
                  <a:gd name="connsiteY10" fmla="*/ 22687 h 156279"/>
                  <a:gd name="connsiteX11" fmla="*/ 95092 w 156278"/>
                  <a:gd name="connsiteY11" fmla="*/ 16678 h 156279"/>
                  <a:gd name="connsiteX12" fmla="*/ 95092 w 156278"/>
                  <a:gd name="connsiteY12" fmla="*/ 11041 h 156279"/>
                  <a:gd name="connsiteX13" fmla="*/ 84051 w 156278"/>
                  <a:gd name="connsiteY13" fmla="*/ 0 h 156279"/>
                  <a:gd name="connsiteX14" fmla="*/ 72238 w 156278"/>
                  <a:gd name="connsiteY14" fmla="*/ 0 h 156279"/>
                  <a:gd name="connsiteX15" fmla="*/ 61187 w 156278"/>
                  <a:gd name="connsiteY15" fmla="*/ 11041 h 156279"/>
                  <a:gd name="connsiteX16" fmla="*/ 61187 w 156278"/>
                  <a:gd name="connsiteY16" fmla="*/ 16678 h 156279"/>
                  <a:gd name="connsiteX17" fmla="*/ 46667 w 156278"/>
                  <a:gd name="connsiteY17" fmla="*/ 22687 h 156279"/>
                  <a:gd name="connsiteX18" fmla="*/ 42695 w 156278"/>
                  <a:gd name="connsiteY18" fmla="*/ 18724 h 156279"/>
                  <a:gd name="connsiteX19" fmla="*/ 27068 w 156278"/>
                  <a:gd name="connsiteY19" fmla="*/ 18706 h 156279"/>
                  <a:gd name="connsiteX20" fmla="*/ 18716 w 156278"/>
                  <a:gd name="connsiteY20" fmla="*/ 27059 h 156279"/>
                  <a:gd name="connsiteX21" fmla="*/ 15478 w 156278"/>
                  <a:gd name="connsiteY21" fmla="*/ 34891 h 156279"/>
                  <a:gd name="connsiteX22" fmla="*/ 18716 w 156278"/>
                  <a:gd name="connsiteY22" fmla="*/ 42686 h 156279"/>
                  <a:gd name="connsiteX23" fmla="*/ 22688 w 156278"/>
                  <a:gd name="connsiteY23" fmla="*/ 46667 h 156279"/>
                  <a:gd name="connsiteX24" fmla="*/ 16678 w 156278"/>
                  <a:gd name="connsiteY24" fmla="*/ 61187 h 156279"/>
                  <a:gd name="connsiteX25" fmla="*/ 11051 w 156278"/>
                  <a:gd name="connsiteY25" fmla="*/ 61187 h 156279"/>
                  <a:gd name="connsiteX26" fmla="*/ 0 w 156278"/>
                  <a:gd name="connsiteY26" fmla="*/ 72228 h 156279"/>
                  <a:gd name="connsiteX27" fmla="*/ 0 w 156278"/>
                  <a:gd name="connsiteY27" fmla="*/ 84042 h 156279"/>
                  <a:gd name="connsiteX28" fmla="*/ 11051 w 156278"/>
                  <a:gd name="connsiteY28" fmla="*/ 95092 h 156279"/>
                  <a:gd name="connsiteX29" fmla="*/ 16688 w 156278"/>
                  <a:gd name="connsiteY29" fmla="*/ 95092 h 156279"/>
                  <a:gd name="connsiteX30" fmla="*/ 22688 w 156278"/>
                  <a:gd name="connsiteY30" fmla="*/ 109612 h 156279"/>
                  <a:gd name="connsiteX31" fmla="*/ 18724 w 156278"/>
                  <a:gd name="connsiteY31" fmla="*/ 113583 h 156279"/>
                  <a:gd name="connsiteX32" fmla="*/ 15478 w 156278"/>
                  <a:gd name="connsiteY32" fmla="*/ 121398 h 156279"/>
                  <a:gd name="connsiteX33" fmla="*/ 18716 w 156278"/>
                  <a:gd name="connsiteY33" fmla="*/ 129211 h 156279"/>
                  <a:gd name="connsiteX34" fmla="*/ 27068 w 156278"/>
                  <a:gd name="connsiteY34" fmla="*/ 137563 h 156279"/>
                  <a:gd name="connsiteX35" fmla="*/ 42686 w 156278"/>
                  <a:gd name="connsiteY35" fmla="*/ 137563 h 156279"/>
                  <a:gd name="connsiteX36" fmla="*/ 46667 w 156278"/>
                  <a:gd name="connsiteY36" fmla="*/ 133592 h 156279"/>
                  <a:gd name="connsiteX37" fmla="*/ 61187 w 156278"/>
                  <a:gd name="connsiteY37" fmla="*/ 139601 h 156279"/>
                  <a:gd name="connsiteX38" fmla="*/ 61187 w 156278"/>
                  <a:gd name="connsiteY38" fmla="*/ 145228 h 156279"/>
                  <a:gd name="connsiteX39" fmla="*/ 72238 w 156278"/>
                  <a:gd name="connsiteY39" fmla="*/ 156279 h 156279"/>
                  <a:gd name="connsiteX40" fmla="*/ 84051 w 156278"/>
                  <a:gd name="connsiteY40" fmla="*/ 156279 h 156279"/>
                  <a:gd name="connsiteX41" fmla="*/ 95092 w 156278"/>
                  <a:gd name="connsiteY41" fmla="*/ 145228 h 156279"/>
                  <a:gd name="connsiteX42" fmla="*/ 95092 w 156278"/>
                  <a:gd name="connsiteY42" fmla="*/ 139601 h 156279"/>
                  <a:gd name="connsiteX43" fmla="*/ 109612 w 156278"/>
                  <a:gd name="connsiteY43" fmla="*/ 133592 h 156279"/>
                  <a:gd name="connsiteX44" fmla="*/ 113603 w 156278"/>
                  <a:gd name="connsiteY44" fmla="*/ 137573 h 156279"/>
                  <a:gd name="connsiteX45" fmla="*/ 129220 w 156278"/>
                  <a:gd name="connsiteY45" fmla="*/ 137563 h 156279"/>
                  <a:gd name="connsiteX46" fmla="*/ 137573 w 156278"/>
                  <a:gd name="connsiteY46" fmla="*/ 129211 h 156279"/>
                  <a:gd name="connsiteX47" fmla="*/ 140810 w 156278"/>
                  <a:gd name="connsiteY47" fmla="*/ 121398 h 156279"/>
                  <a:gd name="connsiteX48" fmla="*/ 137573 w 156278"/>
                  <a:gd name="connsiteY48" fmla="*/ 113593 h 156279"/>
                  <a:gd name="connsiteX49" fmla="*/ 133592 w 156278"/>
                  <a:gd name="connsiteY49" fmla="*/ 109612 h 156279"/>
                  <a:gd name="connsiteX50" fmla="*/ 139601 w 156278"/>
                  <a:gd name="connsiteY50" fmla="*/ 95092 h 156279"/>
                  <a:gd name="connsiteX51" fmla="*/ 145238 w 156278"/>
                  <a:gd name="connsiteY51" fmla="*/ 95092 h 156279"/>
                  <a:gd name="connsiteX52" fmla="*/ 156279 w 156278"/>
                  <a:gd name="connsiteY52" fmla="*/ 84042 h 156279"/>
                  <a:gd name="connsiteX53" fmla="*/ 156279 w 156278"/>
                  <a:gd name="connsiteY53" fmla="*/ 72228 h 156279"/>
                  <a:gd name="connsiteX54" fmla="*/ 145238 w 156278"/>
                  <a:gd name="connsiteY54" fmla="*/ 61187 h 156279"/>
                  <a:gd name="connsiteX55" fmla="*/ 135081 w 156278"/>
                  <a:gd name="connsiteY55" fmla="*/ 83669 h 156279"/>
                  <a:gd name="connsiteX56" fmla="*/ 129471 w 156278"/>
                  <a:gd name="connsiteY56" fmla="*/ 88283 h 156279"/>
                  <a:gd name="connsiteX57" fmla="*/ 121611 w 156278"/>
                  <a:gd name="connsiteY57" fmla="*/ 107259 h 156279"/>
                  <a:gd name="connsiteX58" fmla="*/ 122309 w 156278"/>
                  <a:gd name="connsiteY58" fmla="*/ 114486 h 156279"/>
                  <a:gd name="connsiteX59" fmla="*/ 129499 w 156278"/>
                  <a:gd name="connsiteY59" fmla="*/ 121137 h 156279"/>
                  <a:gd name="connsiteX60" fmla="*/ 121668 w 156278"/>
                  <a:gd name="connsiteY60" fmla="*/ 129490 h 156279"/>
                  <a:gd name="connsiteX61" fmla="*/ 114495 w 156278"/>
                  <a:gd name="connsiteY61" fmla="*/ 122318 h 156279"/>
                  <a:gd name="connsiteX62" fmla="*/ 107268 w 156278"/>
                  <a:gd name="connsiteY62" fmla="*/ 121611 h 156279"/>
                  <a:gd name="connsiteX63" fmla="*/ 88283 w 156278"/>
                  <a:gd name="connsiteY63" fmla="*/ 129471 h 156279"/>
                  <a:gd name="connsiteX64" fmla="*/ 83670 w 156278"/>
                  <a:gd name="connsiteY64" fmla="*/ 135080 h 156279"/>
                  <a:gd name="connsiteX65" fmla="*/ 84051 w 156278"/>
                  <a:gd name="connsiteY65" fmla="*/ 144856 h 156279"/>
                  <a:gd name="connsiteX66" fmla="*/ 72610 w 156278"/>
                  <a:gd name="connsiteY66" fmla="*/ 145228 h 156279"/>
                  <a:gd name="connsiteX67" fmla="*/ 72610 w 156278"/>
                  <a:gd name="connsiteY67" fmla="*/ 135080 h 156279"/>
                  <a:gd name="connsiteX68" fmla="*/ 67996 w 156278"/>
                  <a:gd name="connsiteY68" fmla="*/ 129471 h 156279"/>
                  <a:gd name="connsiteX69" fmla="*/ 49011 w 156278"/>
                  <a:gd name="connsiteY69" fmla="*/ 121611 h 156279"/>
                  <a:gd name="connsiteX70" fmla="*/ 45821 w 156278"/>
                  <a:gd name="connsiteY70" fmla="*/ 120644 h 156279"/>
                  <a:gd name="connsiteX71" fmla="*/ 41783 w 156278"/>
                  <a:gd name="connsiteY71" fmla="*/ 122318 h 156279"/>
                  <a:gd name="connsiteX72" fmla="*/ 35142 w 156278"/>
                  <a:gd name="connsiteY72" fmla="*/ 129490 h 156279"/>
                  <a:gd name="connsiteX73" fmla="*/ 26799 w 156278"/>
                  <a:gd name="connsiteY73" fmla="*/ 121667 h 156279"/>
                  <a:gd name="connsiteX74" fmla="*/ 33970 w 156278"/>
                  <a:gd name="connsiteY74" fmla="*/ 114486 h 156279"/>
                  <a:gd name="connsiteX75" fmla="*/ 34668 w 156278"/>
                  <a:gd name="connsiteY75" fmla="*/ 107259 h 156279"/>
                  <a:gd name="connsiteX76" fmla="*/ 26817 w 156278"/>
                  <a:gd name="connsiteY76" fmla="*/ 88283 h 156279"/>
                  <a:gd name="connsiteX77" fmla="*/ 21208 w 156278"/>
                  <a:gd name="connsiteY77" fmla="*/ 83669 h 156279"/>
                  <a:gd name="connsiteX78" fmla="*/ 11422 w 156278"/>
                  <a:gd name="connsiteY78" fmla="*/ 84042 h 156279"/>
                  <a:gd name="connsiteX79" fmla="*/ 11051 w 156278"/>
                  <a:gd name="connsiteY79" fmla="*/ 72610 h 156279"/>
                  <a:gd name="connsiteX80" fmla="*/ 21208 w 156278"/>
                  <a:gd name="connsiteY80" fmla="*/ 72610 h 156279"/>
                  <a:gd name="connsiteX81" fmla="*/ 26817 w 156278"/>
                  <a:gd name="connsiteY81" fmla="*/ 67996 h 156279"/>
                  <a:gd name="connsiteX82" fmla="*/ 34668 w 156278"/>
                  <a:gd name="connsiteY82" fmla="*/ 49011 h 156279"/>
                  <a:gd name="connsiteX83" fmla="*/ 33960 w 156278"/>
                  <a:gd name="connsiteY83" fmla="*/ 41784 h 156279"/>
                  <a:gd name="connsiteX84" fmla="*/ 26789 w 156278"/>
                  <a:gd name="connsiteY84" fmla="*/ 35142 h 156279"/>
                  <a:gd name="connsiteX85" fmla="*/ 34612 w 156278"/>
                  <a:gd name="connsiteY85" fmla="*/ 26789 h 156279"/>
                  <a:gd name="connsiteX86" fmla="*/ 41783 w 156278"/>
                  <a:gd name="connsiteY86" fmla="*/ 33961 h 156279"/>
                  <a:gd name="connsiteX87" fmla="*/ 49002 w 156278"/>
                  <a:gd name="connsiteY87" fmla="*/ 34668 h 156279"/>
                  <a:gd name="connsiteX88" fmla="*/ 67996 w 156278"/>
                  <a:gd name="connsiteY88" fmla="*/ 26817 h 156279"/>
                  <a:gd name="connsiteX89" fmla="*/ 72610 w 156278"/>
                  <a:gd name="connsiteY89" fmla="*/ 21208 h 156279"/>
                  <a:gd name="connsiteX90" fmla="*/ 72238 w 156278"/>
                  <a:gd name="connsiteY90" fmla="*/ 11423 h 156279"/>
                  <a:gd name="connsiteX91" fmla="*/ 83670 w 156278"/>
                  <a:gd name="connsiteY91" fmla="*/ 11041 h 156279"/>
                  <a:gd name="connsiteX92" fmla="*/ 83670 w 156278"/>
                  <a:gd name="connsiteY92" fmla="*/ 21208 h 156279"/>
                  <a:gd name="connsiteX93" fmla="*/ 88283 w 156278"/>
                  <a:gd name="connsiteY93" fmla="*/ 26817 h 156279"/>
                  <a:gd name="connsiteX94" fmla="*/ 107268 w 156278"/>
                  <a:gd name="connsiteY94" fmla="*/ 34668 h 156279"/>
                  <a:gd name="connsiteX95" fmla="*/ 114495 w 156278"/>
                  <a:gd name="connsiteY95" fmla="*/ 33961 h 156279"/>
                  <a:gd name="connsiteX96" fmla="*/ 121147 w 156278"/>
                  <a:gd name="connsiteY96" fmla="*/ 26789 h 156279"/>
                  <a:gd name="connsiteX97" fmla="*/ 129490 w 156278"/>
                  <a:gd name="connsiteY97" fmla="*/ 34612 h 156279"/>
                  <a:gd name="connsiteX98" fmla="*/ 122318 w 156278"/>
                  <a:gd name="connsiteY98" fmla="*/ 41784 h 156279"/>
                  <a:gd name="connsiteX99" fmla="*/ 121611 w 156278"/>
                  <a:gd name="connsiteY99" fmla="*/ 49011 h 156279"/>
                  <a:gd name="connsiteX100" fmla="*/ 129471 w 156278"/>
                  <a:gd name="connsiteY100" fmla="*/ 67996 h 156279"/>
                  <a:gd name="connsiteX101" fmla="*/ 135081 w 156278"/>
                  <a:gd name="connsiteY101" fmla="*/ 72610 h 156279"/>
                  <a:gd name="connsiteX102" fmla="*/ 144866 w 156278"/>
                  <a:gd name="connsiteY102" fmla="*/ 72610 h 156279"/>
                  <a:gd name="connsiteX103" fmla="*/ 145238 w 156278"/>
                  <a:gd name="connsiteY103" fmla="*/ 83669 h 156279"/>
                  <a:gd name="connsiteX104" fmla="*/ 135081 w 156278"/>
                  <a:gd name="connsiteY104" fmla="*/ 83669 h 156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156278" h="156279">
                    <a:moveTo>
                      <a:pt x="145238" y="61187"/>
                    </a:moveTo>
                    <a:lnTo>
                      <a:pt x="139601" y="61187"/>
                    </a:lnTo>
                    <a:cubicBezTo>
                      <a:pt x="138206" y="56089"/>
                      <a:pt x="136196" y="51234"/>
                      <a:pt x="133601" y="46658"/>
                    </a:cubicBezTo>
                    <a:lnTo>
                      <a:pt x="137554" y="42695"/>
                    </a:lnTo>
                    <a:cubicBezTo>
                      <a:pt x="139648" y="40621"/>
                      <a:pt x="140800" y="37840"/>
                      <a:pt x="140810" y="34882"/>
                    </a:cubicBezTo>
                    <a:cubicBezTo>
                      <a:pt x="140810" y="31924"/>
                      <a:pt x="139666" y="29152"/>
                      <a:pt x="137573" y="27068"/>
                    </a:cubicBezTo>
                    <a:lnTo>
                      <a:pt x="129229" y="18724"/>
                    </a:lnTo>
                    <a:cubicBezTo>
                      <a:pt x="127155" y="16632"/>
                      <a:pt x="124383" y="15478"/>
                      <a:pt x="121426" y="15478"/>
                    </a:cubicBezTo>
                    <a:cubicBezTo>
                      <a:pt x="121416" y="15478"/>
                      <a:pt x="121416" y="15478"/>
                      <a:pt x="121407" y="15478"/>
                    </a:cubicBezTo>
                    <a:cubicBezTo>
                      <a:pt x="118458" y="15478"/>
                      <a:pt x="115677" y="16622"/>
                      <a:pt x="113593" y="18715"/>
                    </a:cubicBezTo>
                    <a:lnTo>
                      <a:pt x="109612" y="22687"/>
                    </a:lnTo>
                    <a:cubicBezTo>
                      <a:pt x="105036" y="20073"/>
                      <a:pt x="100180" y="18073"/>
                      <a:pt x="95092" y="16678"/>
                    </a:cubicBezTo>
                    <a:lnTo>
                      <a:pt x="95092" y="11041"/>
                    </a:lnTo>
                    <a:cubicBezTo>
                      <a:pt x="95092" y="4949"/>
                      <a:pt x="90144" y="0"/>
                      <a:pt x="84051" y="0"/>
                    </a:cubicBezTo>
                    <a:lnTo>
                      <a:pt x="72238" y="0"/>
                    </a:lnTo>
                    <a:cubicBezTo>
                      <a:pt x="66145" y="0"/>
                      <a:pt x="61187" y="4949"/>
                      <a:pt x="61187" y="11041"/>
                    </a:cubicBezTo>
                    <a:lnTo>
                      <a:pt x="61187" y="16678"/>
                    </a:lnTo>
                    <a:cubicBezTo>
                      <a:pt x="56108" y="18064"/>
                      <a:pt x="51253" y="20083"/>
                      <a:pt x="46667" y="22687"/>
                    </a:cubicBezTo>
                    <a:lnTo>
                      <a:pt x="42695" y="18724"/>
                    </a:lnTo>
                    <a:cubicBezTo>
                      <a:pt x="38519" y="14529"/>
                      <a:pt x="31208" y="14567"/>
                      <a:pt x="27068" y="18706"/>
                    </a:cubicBezTo>
                    <a:lnTo>
                      <a:pt x="18716" y="27059"/>
                    </a:lnTo>
                    <a:cubicBezTo>
                      <a:pt x="16622" y="29142"/>
                      <a:pt x="15469" y="31924"/>
                      <a:pt x="15478" y="34891"/>
                    </a:cubicBezTo>
                    <a:cubicBezTo>
                      <a:pt x="15478" y="37849"/>
                      <a:pt x="16632" y="40621"/>
                      <a:pt x="18716" y="42686"/>
                    </a:cubicBezTo>
                    <a:lnTo>
                      <a:pt x="22688" y="46667"/>
                    </a:lnTo>
                    <a:cubicBezTo>
                      <a:pt x="20083" y="51234"/>
                      <a:pt x="18074" y="56089"/>
                      <a:pt x="16678" y="61187"/>
                    </a:cubicBezTo>
                    <a:lnTo>
                      <a:pt x="11051" y="61187"/>
                    </a:lnTo>
                    <a:cubicBezTo>
                      <a:pt x="4958" y="61187"/>
                      <a:pt x="0" y="66136"/>
                      <a:pt x="0" y="72228"/>
                    </a:cubicBezTo>
                    <a:lnTo>
                      <a:pt x="0" y="84042"/>
                    </a:lnTo>
                    <a:cubicBezTo>
                      <a:pt x="0" y="90134"/>
                      <a:pt x="4958" y="95092"/>
                      <a:pt x="11051" y="95092"/>
                    </a:cubicBezTo>
                    <a:lnTo>
                      <a:pt x="16688" y="95092"/>
                    </a:lnTo>
                    <a:cubicBezTo>
                      <a:pt x="18074" y="100180"/>
                      <a:pt x="20083" y="105036"/>
                      <a:pt x="22688" y="109612"/>
                    </a:cubicBezTo>
                    <a:lnTo>
                      <a:pt x="18724" y="113583"/>
                    </a:lnTo>
                    <a:cubicBezTo>
                      <a:pt x="16632" y="115667"/>
                      <a:pt x="15478" y="118439"/>
                      <a:pt x="15478" y="121398"/>
                    </a:cubicBezTo>
                    <a:cubicBezTo>
                      <a:pt x="15478" y="124365"/>
                      <a:pt x="16632" y="127136"/>
                      <a:pt x="18716" y="129211"/>
                    </a:cubicBezTo>
                    <a:lnTo>
                      <a:pt x="27068" y="137563"/>
                    </a:lnTo>
                    <a:cubicBezTo>
                      <a:pt x="31366" y="141879"/>
                      <a:pt x="38389" y="141889"/>
                      <a:pt x="42686" y="137563"/>
                    </a:cubicBezTo>
                    <a:lnTo>
                      <a:pt x="46667" y="133592"/>
                    </a:lnTo>
                    <a:cubicBezTo>
                      <a:pt x="51234" y="136197"/>
                      <a:pt x="56099" y="138215"/>
                      <a:pt x="61187" y="139601"/>
                    </a:cubicBezTo>
                    <a:lnTo>
                      <a:pt x="61187" y="145228"/>
                    </a:lnTo>
                    <a:cubicBezTo>
                      <a:pt x="61187" y="151321"/>
                      <a:pt x="66145" y="156279"/>
                      <a:pt x="72238" y="156279"/>
                    </a:cubicBezTo>
                    <a:lnTo>
                      <a:pt x="84051" y="156279"/>
                    </a:lnTo>
                    <a:cubicBezTo>
                      <a:pt x="90144" y="156279"/>
                      <a:pt x="95092" y="151321"/>
                      <a:pt x="95092" y="145228"/>
                    </a:cubicBezTo>
                    <a:lnTo>
                      <a:pt x="95092" y="139601"/>
                    </a:lnTo>
                    <a:cubicBezTo>
                      <a:pt x="100180" y="138215"/>
                      <a:pt x="105045" y="136197"/>
                      <a:pt x="109612" y="133592"/>
                    </a:cubicBezTo>
                    <a:lnTo>
                      <a:pt x="113603" y="137573"/>
                    </a:lnTo>
                    <a:cubicBezTo>
                      <a:pt x="117909" y="141871"/>
                      <a:pt x="124932" y="141879"/>
                      <a:pt x="129220" y="137563"/>
                    </a:cubicBezTo>
                    <a:lnTo>
                      <a:pt x="137573" y="129211"/>
                    </a:lnTo>
                    <a:cubicBezTo>
                      <a:pt x="139666" y="127127"/>
                      <a:pt x="140810" y="124355"/>
                      <a:pt x="140810" y="121398"/>
                    </a:cubicBezTo>
                    <a:cubicBezTo>
                      <a:pt x="140800" y="118439"/>
                      <a:pt x="139648" y="115658"/>
                      <a:pt x="137573" y="113593"/>
                    </a:cubicBezTo>
                    <a:lnTo>
                      <a:pt x="133592" y="109612"/>
                    </a:lnTo>
                    <a:cubicBezTo>
                      <a:pt x="136196" y="105045"/>
                      <a:pt x="138215" y="100189"/>
                      <a:pt x="139601" y="95092"/>
                    </a:cubicBezTo>
                    <a:lnTo>
                      <a:pt x="145238" y="95092"/>
                    </a:lnTo>
                    <a:cubicBezTo>
                      <a:pt x="151330" y="95092"/>
                      <a:pt x="156279" y="90134"/>
                      <a:pt x="156279" y="84042"/>
                    </a:cubicBezTo>
                    <a:lnTo>
                      <a:pt x="156279" y="72228"/>
                    </a:lnTo>
                    <a:cubicBezTo>
                      <a:pt x="156279" y="66136"/>
                      <a:pt x="151330" y="61187"/>
                      <a:pt x="145238" y="61187"/>
                    </a:cubicBezTo>
                    <a:close/>
                    <a:moveTo>
                      <a:pt x="135081" y="83669"/>
                    </a:moveTo>
                    <a:cubicBezTo>
                      <a:pt x="132346" y="83669"/>
                      <a:pt x="130002" y="85595"/>
                      <a:pt x="129471" y="88283"/>
                    </a:cubicBezTo>
                    <a:cubicBezTo>
                      <a:pt x="128132" y="95120"/>
                      <a:pt x="125480" y="101510"/>
                      <a:pt x="121611" y="107259"/>
                    </a:cubicBezTo>
                    <a:cubicBezTo>
                      <a:pt x="120085" y="109529"/>
                      <a:pt x="120384" y="112551"/>
                      <a:pt x="122309" y="114486"/>
                    </a:cubicBezTo>
                    <a:lnTo>
                      <a:pt x="129499" y="121137"/>
                    </a:lnTo>
                    <a:lnTo>
                      <a:pt x="121668" y="129490"/>
                    </a:lnTo>
                    <a:lnTo>
                      <a:pt x="114495" y="122318"/>
                    </a:lnTo>
                    <a:cubicBezTo>
                      <a:pt x="112570" y="120383"/>
                      <a:pt x="109547" y="120104"/>
                      <a:pt x="107268" y="121611"/>
                    </a:cubicBezTo>
                    <a:cubicBezTo>
                      <a:pt x="101510" y="125481"/>
                      <a:pt x="95120" y="128132"/>
                      <a:pt x="88283" y="129471"/>
                    </a:cubicBezTo>
                    <a:cubicBezTo>
                      <a:pt x="85595" y="130002"/>
                      <a:pt x="83670" y="132346"/>
                      <a:pt x="83670" y="135080"/>
                    </a:cubicBezTo>
                    <a:lnTo>
                      <a:pt x="84051" y="144856"/>
                    </a:lnTo>
                    <a:lnTo>
                      <a:pt x="72610" y="145228"/>
                    </a:lnTo>
                    <a:lnTo>
                      <a:pt x="72610" y="135080"/>
                    </a:lnTo>
                    <a:cubicBezTo>
                      <a:pt x="72610" y="132346"/>
                      <a:pt x="70684" y="130002"/>
                      <a:pt x="67996" y="129471"/>
                    </a:cubicBezTo>
                    <a:cubicBezTo>
                      <a:pt x="61159" y="128132"/>
                      <a:pt x="54769" y="125481"/>
                      <a:pt x="49011" y="121611"/>
                    </a:cubicBezTo>
                    <a:cubicBezTo>
                      <a:pt x="48035" y="120960"/>
                      <a:pt x="46928" y="120644"/>
                      <a:pt x="45821" y="120644"/>
                    </a:cubicBezTo>
                    <a:cubicBezTo>
                      <a:pt x="44351" y="120644"/>
                      <a:pt x="42882" y="121211"/>
                      <a:pt x="41783" y="122318"/>
                    </a:cubicBezTo>
                    <a:lnTo>
                      <a:pt x="35142" y="129490"/>
                    </a:lnTo>
                    <a:lnTo>
                      <a:pt x="26799" y="121667"/>
                    </a:lnTo>
                    <a:lnTo>
                      <a:pt x="33970" y="114486"/>
                    </a:lnTo>
                    <a:cubicBezTo>
                      <a:pt x="35896" y="112551"/>
                      <a:pt x="36193" y="109529"/>
                      <a:pt x="34668" y="107259"/>
                    </a:cubicBezTo>
                    <a:cubicBezTo>
                      <a:pt x="30798" y="101501"/>
                      <a:pt x="28157" y="95120"/>
                      <a:pt x="26817" y="88283"/>
                    </a:cubicBezTo>
                    <a:cubicBezTo>
                      <a:pt x="26287" y="85595"/>
                      <a:pt x="23943" y="83669"/>
                      <a:pt x="21208" y="83669"/>
                    </a:cubicBezTo>
                    <a:lnTo>
                      <a:pt x="11422" y="84042"/>
                    </a:lnTo>
                    <a:lnTo>
                      <a:pt x="11051" y="72610"/>
                    </a:lnTo>
                    <a:lnTo>
                      <a:pt x="21208" y="72610"/>
                    </a:lnTo>
                    <a:cubicBezTo>
                      <a:pt x="23943" y="72610"/>
                      <a:pt x="26287" y="70684"/>
                      <a:pt x="26817" y="67996"/>
                    </a:cubicBezTo>
                    <a:cubicBezTo>
                      <a:pt x="28157" y="61150"/>
                      <a:pt x="30798" y="54760"/>
                      <a:pt x="34668" y="49011"/>
                    </a:cubicBezTo>
                    <a:cubicBezTo>
                      <a:pt x="36193" y="46742"/>
                      <a:pt x="35896" y="43709"/>
                      <a:pt x="33960" y="41784"/>
                    </a:cubicBezTo>
                    <a:lnTo>
                      <a:pt x="26789" y="35142"/>
                    </a:lnTo>
                    <a:lnTo>
                      <a:pt x="34612" y="26789"/>
                    </a:lnTo>
                    <a:lnTo>
                      <a:pt x="41783" y="33961"/>
                    </a:lnTo>
                    <a:cubicBezTo>
                      <a:pt x="43709" y="35905"/>
                      <a:pt x="46760" y="36193"/>
                      <a:pt x="49002" y="34668"/>
                    </a:cubicBezTo>
                    <a:cubicBezTo>
                      <a:pt x="54788" y="30789"/>
                      <a:pt x="61178" y="28147"/>
                      <a:pt x="67996" y="26817"/>
                    </a:cubicBezTo>
                    <a:cubicBezTo>
                      <a:pt x="70675" y="26296"/>
                      <a:pt x="72610" y="23943"/>
                      <a:pt x="72610" y="21208"/>
                    </a:cubicBezTo>
                    <a:lnTo>
                      <a:pt x="72238" y="11423"/>
                    </a:lnTo>
                    <a:lnTo>
                      <a:pt x="83670" y="11041"/>
                    </a:lnTo>
                    <a:lnTo>
                      <a:pt x="83670" y="21208"/>
                    </a:lnTo>
                    <a:cubicBezTo>
                      <a:pt x="83670" y="23943"/>
                      <a:pt x="85604" y="26296"/>
                      <a:pt x="88283" y="26817"/>
                    </a:cubicBezTo>
                    <a:cubicBezTo>
                      <a:pt x="95120" y="28147"/>
                      <a:pt x="101501" y="30789"/>
                      <a:pt x="107268" y="34668"/>
                    </a:cubicBezTo>
                    <a:cubicBezTo>
                      <a:pt x="109538" y="36184"/>
                      <a:pt x="112561" y="35896"/>
                      <a:pt x="114495" y="33961"/>
                    </a:cubicBezTo>
                    <a:lnTo>
                      <a:pt x="121147" y="26789"/>
                    </a:lnTo>
                    <a:lnTo>
                      <a:pt x="129490" y="34612"/>
                    </a:lnTo>
                    <a:lnTo>
                      <a:pt x="122318" y="41784"/>
                    </a:lnTo>
                    <a:cubicBezTo>
                      <a:pt x="120384" y="43709"/>
                      <a:pt x="120085" y="46742"/>
                      <a:pt x="121611" y="49011"/>
                    </a:cubicBezTo>
                    <a:cubicBezTo>
                      <a:pt x="125480" y="54760"/>
                      <a:pt x="128123" y="61150"/>
                      <a:pt x="129471" y="67996"/>
                    </a:cubicBezTo>
                    <a:cubicBezTo>
                      <a:pt x="130002" y="70684"/>
                      <a:pt x="132346" y="72610"/>
                      <a:pt x="135081" y="72610"/>
                    </a:cubicBezTo>
                    <a:lnTo>
                      <a:pt x="144866" y="72610"/>
                    </a:lnTo>
                    <a:lnTo>
                      <a:pt x="145238" y="83669"/>
                    </a:lnTo>
                    <a:lnTo>
                      <a:pt x="135081" y="8366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D8EE1C9-5D74-4685-9006-307D0A51764F}"/>
                  </a:ext>
                </a:extLst>
              </p:cNvPr>
              <p:cNvSpPr/>
              <p:nvPr/>
            </p:nvSpPr>
            <p:spPr>
              <a:xfrm>
                <a:off x="1281507" y="5208139"/>
                <a:ext cx="62675" cy="62675"/>
              </a:xfrm>
              <a:custGeom>
                <a:avLst/>
                <a:gdLst>
                  <a:gd name="connsiteX0" fmla="*/ 31337 w 62675"/>
                  <a:gd name="connsiteY0" fmla="*/ 0 h 62675"/>
                  <a:gd name="connsiteX1" fmla="*/ 0 w 62675"/>
                  <a:gd name="connsiteY1" fmla="*/ 31338 h 62675"/>
                  <a:gd name="connsiteX2" fmla="*/ 31337 w 62675"/>
                  <a:gd name="connsiteY2" fmla="*/ 62675 h 62675"/>
                  <a:gd name="connsiteX3" fmla="*/ 62675 w 62675"/>
                  <a:gd name="connsiteY3" fmla="*/ 31338 h 62675"/>
                  <a:gd name="connsiteX4" fmla="*/ 31337 w 62675"/>
                  <a:gd name="connsiteY4" fmla="*/ 0 h 62675"/>
                  <a:gd name="connsiteX5" fmla="*/ 31337 w 62675"/>
                  <a:gd name="connsiteY5" fmla="*/ 51253 h 62675"/>
                  <a:gd name="connsiteX6" fmla="*/ 11422 w 62675"/>
                  <a:gd name="connsiteY6" fmla="*/ 31338 h 62675"/>
                  <a:gd name="connsiteX7" fmla="*/ 31337 w 62675"/>
                  <a:gd name="connsiteY7" fmla="*/ 11422 h 62675"/>
                  <a:gd name="connsiteX8" fmla="*/ 51252 w 62675"/>
                  <a:gd name="connsiteY8" fmla="*/ 31338 h 62675"/>
                  <a:gd name="connsiteX9" fmla="*/ 31337 w 62675"/>
                  <a:gd name="connsiteY9" fmla="*/ 51253 h 6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675" h="62675">
                    <a:moveTo>
                      <a:pt x="31337" y="0"/>
                    </a:moveTo>
                    <a:cubicBezTo>
                      <a:pt x="14055" y="0"/>
                      <a:pt x="0" y="14055"/>
                      <a:pt x="0" y="31338"/>
                    </a:cubicBezTo>
                    <a:cubicBezTo>
                      <a:pt x="0" y="48620"/>
                      <a:pt x="14055" y="62675"/>
                      <a:pt x="31337" y="62675"/>
                    </a:cubicBezTo>
                    <a:cubicBezTo>
                      <a:pt x="48620" y="62675"/>
                      <a:pt x="62675" y="48620"/>
                      <a:pt x="62675" y="31338"/>
                    </a:cubicBezTo>
                    <a:cubicBezTo>
                      <a:pt x="62675" y="14055"/>
                      <a:pt x="48620" y="0"/>
                      <a:pt x="31337" y="0"/>
                    </a:cubicBezTo>
                    <a:close/>
                    <a:moveTo>
                      <a:pt x="31337" y="51253"/>
                    </a:moveTo>
                    <a:cubicBezTo>
                      <a:pt x="20362" y="51253"/>
                      <a:pt x="11422" y="42314"/>
                      <a:pt x="11422" y="31338"/>
                    </a:cubicBezTo>
                    <a:cubicBezTo>
                      <a:pt x="11422" y="20362"/>
                      <a:pt x="20362" y="11422"/>
                      <a:pt x="31337" y="11422"/>
                    </a:cubicBezTo>
                    <a:cubicBezTo>
                      <a:pt x="42314" y="11422"/>
                      <a:pt x="51252" y="20362"/>
                      <a:pt x="51252" y="31338"/>
                    </a:cubicBezTo>
                    <a:cubicBezTo>
                      <a:pt x="51252" y="42314"/>
                      <a:pt x="42314" y="51253"/>
                      <a:pt x="31337" y="5125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aphic 155">
              <a:extLst>
                <a:ext uri="{FF2B5EF4-FFF2-40B4-BE49-F238E27FC236}">
                  <a16:creationId xmlns:a16="http://schemas.microsoft.com/office/drawing/2014/main" id="{73F8778A-52E8-4CDF-99B1-1428F169EC96}"/>
                </a:ext>
              </a:extLst>
            </p:cNvPr>
            <p:cNvGrpSpPr/>
            <p:nvPr/>
          </p:nvGrpSpPr>
          <p:grpSpPr>
            <a:xfrm>
              <a:off x="5448174" y="2861650"/>
              <a:ext cx="732652" cy="759033"/>
              <a:chOff x="614475" y="2991599"/>
              <a:chExt cx="305106" cy="316092"/>
            </a:xfrm>
            <a:solidFill>
              <a:schemeClr val="bg1"/>
            </a:solidFill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0539D80-028A-4F32-8B3A-D47D9B319FA9}"/>
                  </a:ext>
                </a:extLst>
              </p:cNvPr>
              <p:cNvSpPr/>
              <p:nvPr/>
            </p:nvSpPr>
            <p:spPr>
              <a:xfrm>
                <a:off x="763652" y="3172360"/>
                <a:ext cx="155929" cy="135331"/>
              </a:xfrm>
              <a:custGeom>
                <a:avLst/>
                <a:gdLst>
                  <a:gd name="connsiteX0" fmla="*/ 142126 w 155929"/>
                  <a:gd name="connsiteY0" fmla="*/ 14344 h 135331"/>
                  <a:gd name="connsiteX1" fmla="*/ 109598 w 155929"/>
                  <a:gd name="connsiteY1" fmla="*/ 0 h 135331"/>
                  <a:gd name="connsiteX2" fmla="*/ 77958 w 155929"/>
                  <a:gd name="connsiteY2" fmla="*/ 13544 h 135331"/>
                  <a:gd name="connsiteX3" fmla="*/ 46313 w 155929"/>
                  <a:gd name="connsiteY3" fmla="*/ 0 h 135331"/>
                  <a:gd name="connsiteX4" fmla="*/ 13790 w 155929"/>
                  <a:gd name="connsiteY4" fmla="*/ 14344 h 135331"/>
                  <a:gd name="connsiteX5" fmla="*/ 0 w 155929"/>
                  <a:gd name="connsiteY5" fmla="*/ 48099 h 135331"/>
                  <a:gd name="connsiteX6" fmla="*/ 5 w 155929"/>
                  <a:gd name="connsiteY6" fmla="*/ 50211 h 135331"/>
                  <a:gd name="connsiteX7" fmla="*/ 5125 w 155929"/>
                  <a:gd name="connsiteY7" fmla="*/ 74377 h 135331"/>
                  <a:gd name="connsiteX8" fmla="*/ 16278 w 155929"/>
                  <a:gd name="connsiteY8" fmla="*/ 94041 h 135331"/>
                  <a:gd name="connsiteX9" fmla="*/ 31329 w 155929"/>
                  <a:gd name="connsiteY9" fmla="*/ 109389 h 135331"/>
                  <a:gd name="connsiteX10" fmla="*/ 46770 w 155929"/>
                  <a:gd name="connsiteY10" fmla="*/ 121007 h 135331"/>
                  <a:gd name="connsiteX11" fmla="*/ 61257 w 155929"/>
                  <a:gd name="connsiteY11" fmla="*/ 128988 h 135331"/>
                  <a:gd name="connsiteX12" fmla="*/ 75256 w 155929"/>
                  <a:gd name="connsiteY12" fmla="*/ 135052 h 135331"/>
                  <a:gd name="connsiteX13" fmla="*/ 77032 w 155929"/>
                  <a:gd name="connsiteY13" fmla="*/ 135331 h 135331"/>
                  <a:gd name="connsiteX14" fmla="*/ 80335 w 155929"/>
                  <a:gd name="connsiteY14" fmla="*/ 134736 h 135331"/>
                  <a:gd name="connsiteX15" fmla="*/ 93711 w 155929"/>
                  <a:gd name="connsiteY15" fmla="*/ 129109 h 135331"/>
                  <a:gd name="connsiteX16" fmla="*/ 108398 w 155929"/>
                  <a:gd name="connsiteY16" fmla="*/ 121035 h 135331"/>
                  <a:gd name="connsiteX17" fmla="*/ 124086 w 155929"/>
                  <a:gd name="connsiteY17" fmla="*/ 109603 h 135331"/>
                  <a:gd name="connsiteX18" fmla="*/ 139392 w 155929"/>
                  <a:gd name="connsiteY18" fmla="*/ 94134 h 135331"/>
                  <a:gd name="connsiteX19" fmla="*/ 150628 w 155929"/>
                  <a:gd name="connsiteY19" fmla="*/ 74433 h 135331"/>
                  <a:gd name="connsiteX20" fmla="*/ 155925 w 155929"/>
                  <a:gd name="connsiteY20" fmla="*/ 50211 h 135331"/>
                  <a:gd name="connsiteX21" fmla="*/ 155930 w 155929"/>
                  <a:gd name="connsiteY21" fmla="*/ 50072 h 135331"/>
                  <a:gd name="connsiteX22" fmla="*/ 155930 w 155929"/>
                  <a:gd name="connsiteY22" fmla="*/ 47439 h 135331"/>
                  <a:gd name="connsiteX23" fmla="*/ 142126 w 155929"/>
                  <a:gd name="connsiteY23" fmla="*/ 14344 h 135331"/>
                  <a:gd name="connsiteX24" fmla="*/ 144498 w 155929"/>
                  <a:gd name="connsiteY24" fmla="*/ 49998 h 135331"/>
                  <a:gd name="connsiteX25" fmla="*/ 140066 w 155929"/>
                  <a:gd name="connsiteY25" fmla="*/ 70071 h 135331"/>
                  <a:gd name="connsiteX26" fmla="*/ 130388 w 155929"/>
                  <a:gd name="connsiteY26" fmla="*/ 87093 h 135331"/>
                  <a:gd name="connsiteX27" fmla="*/ 116877 w 155929"/>
                  <a:gd name="connsiteY27" fmla="*/ 100729 h 135331"/>
                  <a:gd name="connsiteX28" fmla="*/ 102334 w 155929"/>
                  <a:gd name="connsiteY28" fmla="*/ 111343 h 135331"/>
                  <a:gd name="connsiteX29" fmla="*/ 88763 w 155929"/>
                  <a:gd name="connsiteY29" fmla="*/ 118802 h 135331"/>
                  <a:gd name="connsiteX30" fmla="*/ 77452 w 155929"/>
                  <a:gd name="connsiteY30" fmla="*/ 123593 h 135331"/>
                  <a:gd name="connsiteX31" fmla="*/ 66126 w 155929"/>
                  <a:gd name="connsiteY31" fmla="*/ 118644 h 135331"/>
                  <a:gd name="connsiteX32" fmla="*/ 52923 w 155929"/>
                  <a:gd name="connsiteY32" fmla="*/ 111370 h 135331"/>
                  <a:gd name="connsiteX33" fmla="*/ 38700 w 155929"/>
                  <a:gd name="connsiteY33" fmla="*/ 100655 h 135331"/>
                  <a:gd name="connsiteX34" fmla="*/ 25217 w 155929"/>
                  <a:gd name="connsiteY34" fmla="*/ 86916 h 135331"/>
                  <a:gd name="connsiteX35" fmla="*/ 15739 w 155929"/>
                  <a:gd name="connsiteY35" fmla="*/ 70135 h 135331"/>
                  <a:gd name="connsiteX36" fmla="*/ 11432 w 155929"/>
                  <a:gd name="connsiteY36" fmla="*/ 50072 h 135331"/>
                  <a:gd name="connsiteX37" fmla="*/ 11432 w 155929"/>
                  <a:gd name="connsiteY37" fmla="*/ 47625 h 135331"/>
                  <a:gd name="connsiteX38" fmla="*/ 22054 w 155929"/>
                  <a:gd name="connsiteY38" fmla="*/ 22231 h 135331"/>
                  <a:gd name="connsiteX39" fmla="*/ 46313 w 155929"/>
                  <a:gd name="connsiteY39" fmla="*/ 11422 h 135331"/>
                  <a:gd name="connsiteX40" fmla="*/ 73377 w 155929"/>
                  <a:gd name="connsiteY40" fmla="*/ 25794 h 135331"/>
                  <a:gd name="connsiteX41" fmla="*/ 82539 w 155929"/>
                  <a:gd name="connsiteY41" fmla="*/ 25794 h 135331"/>
                  <a:gd name="connsiteX42" fmla="*/ 109598 w 155929"/>
                  <a:gd name="connsiteY42" fmla="*/ 11422 h 135331"/>
                  <a:gd name="connsiteX43" fmla="*/ 133861 w 155929"/>
                  <a:gd name="connsiteY43" fmla="*/ 22231 h 135331"/>
                  <a:gd name="connsiteX44" fmla="*/ 144498 w 155929"/>
                  <a:gd name="connsiteY44" fmla="*/ 47533 h 135331"/>
                  <a:gd name="connsiteX45" fmla="*/ 144498 w 155929"/>
                  <a:gd name="connsiteY45" fmla="*/ 49998 h 135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55929" h="135331">
                    <a:moveTo>
                      <a:pt x="142126" y="14344"/>
                    </a:moveTo>
                    <a:cubicBezTo>
                      <a:pt x="133034" y="4819"/>
                      <a:pt x="122091" y="0"/>
                      <a:pt x="109598" y="0"/>
                    </a:cubicBezTo>
                    <a:cubicBezTo>
                      <a:pt x="97226" y="0"/>
                      <a:pt x="86614" y="4549"/>
                      <a:pt x="77958" y="13544"/>
                    </a:cubicBezTo>
                    <a:cubicBezTo>
                      <a:pt x="69298" y="4549"/>
                      <a:pt x="58684" y="0"/>
                      <a:pt x="46313" y="0"/>
                    </a:cubicBezTo>
                    <a:cubicBezTo>
                      <a:pt x="33821" y="0"/>
                      <a:pt x="22878" y="4819"/>
                      <a:pt x="13790" y="14344"/>
                    </a:cubicBezTo>
                    <a:cubicBezTo>
                      <a:pt x="4851" y="23692"/>
                      <a:pt x="214" y="34826"/>
                      <a:pt x="0" y="48099"/>
                    </a:cubicBezTo>
                    <a:lnTo>
                      <a:pt x="5" y="50211"/>
                    </a:lnTo>
                    <a:cubicBezTo>
                      <a:pt x="195" y="58202"/>
                      <a:pt x="1916" y="66331"/>
                      <a:pt x="5125" y="74377"/>
                    </a:cubicBezTo>
                    <a:cubicBezTo>
                      <a:pt x="8149" y="81930"/>
                      <a:pt x="11901" y="88543"/>
                      <a:pt x="16278" y="94041"/>
                    </a:cubicBezTo>
                    <a:cubicBezTo>
                      <a:pt x="20552" y="99409"/>
                      <a:pt x="25617" y="104570"/>
                      <a:pt x="31329" y="109389"/>
                    </a:cubicBezTo>
                    <a:cubicBezTo>
                      <a:pt x="36937" y="114133"/>
                      <a:pt x="42132" y="118040"/>
                      <a:pt x="46770" y="121007"/>
                    </a:cubicBezTo>
                    <a:cubicBezTo>
                      <a:pt x="51345" y="123928"/>
                      <a:pt x="56220" y="126616"/>
                      <a:pt x="61257" y="128988"/>
                    </a:cubicBezTo>
                    <a:cubicBezTo>
                      <a:pt x="66164" y="131295"/>
                      <a:pt x="74288" y="134662"/>
                      <a:pt x="75256" y="135052"/>
                    </a:cubicBezTo>
                    <a:cubicBezTo>
                      <a:pt x="75745" y="135247"/>
                      <a:pt x="76372" y="135331"/>
                      <a:pt x="77032" y="135331"/>
                    </a:cubicBezTo>
                    <a:cubicBezTo>
                      <a:pt x="78191" y="135331"/>
                      <a:pt x="79470" y="135071"/>
                      <a:pt x="80335" y="134736"/>
                    </a:cubicBezTo>
                    <a:cubicBezTo>
                      <a:pt x="82805" y="133769"/>
                      <a:pt x="89418" y="131174"/>
                      <a:pt x="93711" y="129109"/>
                    </a:cubicBezTo>
                    <a:cubicBezTo>
                      <a:pt x="98804" y="126663"/>
                      <a:pt x="103742" y="123946"/>
                      <a:pt x="108398" y="121035"/>
                    </a:cubicBezTo>
                    <a:cubicBezTo>
                      <a:pt x="113087" y="118096"/>
                      <a:pt x="118365" y="114253"/>
                      <a:pt x="124086" y="109603"/>
                    </a:cubicBezTo>
                    <a:cubicBezTo>
                      <a:pt x="129931" y="104849"/>
                      <a:pt x="135080" y="99650"/>
                      <a:pt x="139392" y="94134"/>
                    </a:cubicBezTo>
                    <a:cubicBezTo>
                      <a:pt x="143740" y="88581"/>
                      <a:pt x="147517" y="81948"/>
                      <a:pt x="150628" y="74433"/>
                    </a:cubicBezTo>
                    <a:cubicBezTo>
                      <a:pt x="153954" y="66378"/>
                      <a:pt x="155735" y="58229"/>
                      <a:pt x="155925" y="50211"/>
                    </a:cubicBezTo>
                    <a:cubicBezTo>
                      <a:pt x="155930" y="50164"/>
                      <a:pt x="155930" y="50118"/>
                      <a:pt x="155930" y="50072"/>
                    </a:cubicBezTo>
                    <a:lnTo>
                      <a:pt x="155930" y="47439"/>
                    </a:lnTo>
                    <a:cubicBezTo>
                      <a:pt x="155717" y="34844"/>
                      <a:pt x="151074" y="23711"/>
                      <a:pt x="142126" y="14344"/>
                    </a:cubicBezTo>
                    <a:close/>
                    <a:moveTo>
                      <a:pt x="144498" y="49998"/>
                    </a:moveTo>
                    <a:cubicBezTo>
                      <a:pt x="144330" y="56685"/>
                      <a:pt x="142880" y="63253"/>
                      <a:pt x="140066" y="70071"/>
                    </a:cubicBezTo>
                    <a:cubicBezTo>
                      <a:pt x="137354" y="76629"/>
                      <a:pt x="134099" y="82348"/>
                      <a:pt x="130388" y="87093"/>
                    </a:cubicBezTo>
                    <a:cubicBezTo>
                      <a:pt x="126606" y="91930"/>
                      <a:pt x="122058" y="96515"/>
                      <a:pt x="116877" y="100729"/>
                    </a:cubicBezTo>
                    <a:cubicBezTo>
                      <a:pt x="111514" y="105091"/>
                      <a:pt x="106622" y="108655"/>
                      <a:pt x="102334" y="111343"/>
                    </a:cubicBezTo>
                    <a:cubicBezTo>
                      <a:pt x="98041" y="114030"/>
                      <a:pt x="93474" y="116542"/>
                      <a:pt x="88763" y="118802"/>
                    </a:cubicBezTo>
                    <a:cubicBezTo>
                      <a:pt x="85320" y="120458"/>
                      <a:pt x="80302" y="122468"/>
                      <a:pt x="77452" y="123593"/>
                    </a:cubicBezTo>
                    <a:cubicBezTo>
                      <a:pt x="74591" y="122392"/>
                      <a:pt x="69540" y="120253"/>
                      <a:pt x="66126" y="118644"/>
                    </a:cubicBezTo>
                    <a:cubicBezTo>
                      <a:pt x="61531" y="116486"/>
                      <a:pt x="57090" y="114040"/>
                      <a:pt x="52923" y="111370"/>
                    </a:cubicBezTo>
                    <a:cubicBezTo>
                      <a:pt x="48714" y="108682"/>
                      <a:pt x="43927" y="105083"/>
                      <a:pt x="38700" y="100655"/>
                    </a:cubicBezTo>
                    <a:cubicBezTo>
                      <a:pt x="33560" y="96320"/>
                      <a:pt x="29026" y="91697"/>
                      <a:pt x="25217" y="86916"/>
                    </a:cubicBezTo>
                    <a:cubicBezTo>
                      <a:pt x="21538" y="82293"/>
                      <a:pt x="18348" y="76647"/>
                      <a:pt x="15739" y="70135"/>
                    </a:cubicBezTo>
                    <a:cubicBezTo>
                      <a:pt x="13000" y="63271"/>
                      <a:pt x="11590" y="56658"/>
                      <a:pt x="11432" y="50072"/>
                    </a:cubicBezTo>
                    <a:lnTo>
                      <a:pt x="11432" y="47625"/>
                    </a:lnTo>
                    <a:cubicBezTo>
                      <a:pt x="11595" y="37850"/>
                      <a:pt x="15069" y="29543"/>
                      <a:pt x="22054" y="22231"/>
                    </a:cubicBezTo>
                    <a:cubicBezTo>
                      <a:pt x="28998" y="14957"/>
                      <a:pt x="36932" y="11422"/>
                      <a:pt x="46313" y="11422"/>
                    </a:cubicBezTo>
                    <a:cubicBezTo>
                      <a:pt x="57308" y="11422"/>
                      <a:pt x="66164" y="16130"/>
                      <a:pt x="73377" y="25794"/>
                    </a:cubicBezTo>
                    <a:cubicBezTo>
                      <a:pt x="75535" y="28696"/>
                      <a:pt x="80381" y="28696"/>
                      <a:pt x="82539" y="25794"/>
                    </a:cubicBezTo>
                    <a:cubicBezTo>
                      <a:pt x="89753" y="16130"/>
                      <a:pt x="98604" y="11422"/>
                      <a:pt x="109598" y="11422"/>
                    </a:cubicBezTo>
                    <a:cubicBezTo>
                      <a:pt x="118974" y="11422"/>
                      <a:pt x="126913" y="14967"/>
                      <a:pt x="133861" y="22231"/>
                    </a:cubicBezTo>
                    <a:cubicBezTo>
                      <a:pt x="140857" y="29561"/>
                      <a:pt x="144335" y="37868"/>
                      <a:pt x="144498" y="47533"/>
                    </a:cubicBezTo>
                    <a:lnTo>
                      <a:pt x="144498" y="4999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40AD3084-E8B6-4851-A6E4-99AB9399BF56}"/>
                  </a:ext>
                </a:extLst>
              </p:cNvPr>
              <p:cNvSpPr/>
              <p:nvPr/>
            </p:nvSpPr>
            <p:spPr>
              <a:xfrm>
                <a:off x="614475" y="3181057"/>
                <a:ext cx="141777" cy="77288"/>
              </a:xfrm>
              <a:custGeom>
                <a:avLst/>
                <a:gdLst>
                  <a:gd name="connsiteX0" fmla="*/ 136062 w 141777"/>
                  <a:gd name="connsiteY0" fmla="*/ 65866 h 77288"/>
                  <a:gd name="connsiteX1" fmla="*/ 11702 w 141777"/>
                  <a:gd name="connsiteY1" fmla="*/ 65866 h 77288"/>
                  <a:gd name="connsiteX2" fmla="*/ 71502 w 141777"/>
                  <a:gd name="connsiteY2" fmla="*/ 11422 h 77288"/>
                  <a:gd name="connsiteX3" fmla="*/ 104417 w 141777"/>
                  <a:gd name="connsiteY3" fmla="*/ 11422 h 77288"/>
                  <a:gd name="connsiteX4" fmla="*/ 110133 w 141777"/>
                  <a:gd name="connsiteY4" fmla="*/ 5711 h 77288"/>
                  <a:gd name="connsiteX5" fmla="*/ 104417 w 141777"/>
                  <a:gd name="connsiteY5" fmla="*/ 0 h 77288"/>
                  <a:gd name="connsiteX6" fmla="*/ 71502 w 141777"/>
                  <a:gd name="connsiteY6" fmla="*/ 0 h 77288"/>
                  <a:gd name="connsiteX7" fmla="*/ 0 w 141777"/>
                  <a:gd name="connsiteY7" fmla="*/ 71578 h 77288"/>
                  <a:gd name="connsiteX8" fmla="*/ 5716 w 141777"/>
                  <a:gd name="connsiteY8" fmla="*/ 77289 h 77288"/>
                  <a:gd name="connsiteX9" fmla="*/ 136062 w 141777"/>
                  <a:gd name="connsiteY9" fmla="*/ 77289 h 77288"/>
                  <a:gd name="connsiteX10" fmla="*/ 141778 w 141777"/>
                  <a:gd name="connsiteY10" fmla="*/ 71578 h 77288"/>
                  <a:gd name="connsiteX11" fmla="*/ 136062 w 141777"/>
                  <a:gd name="connsiteY11" fmla="*/ 65866 h 77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1777" h="77288">
                    <a:moveTo>
                      <a:pt x="136062" y="65866"/>
                    </a:moveTo>
                    <a:lnTo>
                      <a:pt x="11702" y="65866"/>
                    </a:lnTo>
                    <a:cubicBezTo>
                      <a:pt x="14585" y="35365"/>
                      <a:pt x="40304" y="11422"/>
                      <a:pt x="71502" y="11422"/>
                    </a:cubicBezTo>
                    <a:lnTo>
                      <a:pt x="104417" y="11422"/>
                    </a:lnTo>
                    <a:cubicBezTo>
                      <a:pt x="107574" y="11422"/>
                      <a:pt x="110133" y="8865"/>
                      <a:pt x="110133" y="5711"/>
                    </a:cubicBezTo>
                    <a:cubicBezTo>
                      <a:pt x="110133" y="2558"/>
                      <a:pt x="107574" y="0"/>
                      <a:pt x="104417" y="0"/>
                    </a:cubicBezTo>
                    <a:lnTo>
                      <a:pt x="71502" y="0"/>
                    </a:lnTo>
                    <a:cubicBezTo>
                      <a:pt x="32077" y="0"/>
                      <a:pt x="0" y="32110"/>
                      <a:pt x="0" y="71578"/>
                    </a:cubicBezTo>
                    <a:cubicBezTo>
                      <a:pt x="0" y="74730"/>
                      <a:pt x="2558" y="77289"/>
                      <a:pt x="5716" y="77289"/>
                    </a:cubicBezTo>
                    <a:lnTo>
                      <a:pt x="136062" y="77289"/>
                    </a:lnTo>
                    <a:cubicBezTo>
                      <a:pt x="139219" y="77289"/>
                      <a:pt x="141778" y="74730"/>
                      <a:pt x="141778" y="71578"/>
                    </a:cubicBezTo>
                    <a:cubicBezTo>
                      <a:pt x="141778" y="68424"/>
                      <a:pt x="139219" y="65866"/>
                      <a:pt x="136062" y="6586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B1630D1-EF79-4A9B-B94E-53C65B7F6ADB}"/>
                  </a:ext>
                </a:extLst>
              </p:cNvPr>
              <p:cNvSpPr/>
              <p:nvPr/>
            </p:nvSpPr>
            <p:spPr>
              <a:xfrm>
                <a:off x="709181" y="3013196"/>
                <a:ext cx="44941" cy="49821"/>
              </a:xfrm>
              <a:custGeom>
                <a:avLst/>
                <a:gdLst>
                  <a:gd name="connsiteX0" fmla="*/ 11278 w 44941"/>
                  <a:gd name="connsiteY0" fmla="*/ 45422 h 49821"/>
                  <a:gd name="connsiteX1" fmla="*/ 41300 w 44941"/>
                  <a:gd name="connsiteY1" fmla="*/ 11043 h 49821"/>
                  <a:gd name="connsiteX2" fmla="*/ 44551 w 44941"/>
                  <a:gd name="connsiteY2" fmla="*/ 3639 h 49821"/>
                  <a:gd name="connsiteX3" fmla="*/ 37151 w 44941"/>
                  <a:gd name="connsiteY3" fmla="*/ 383 h 49821"/>
                  <a:gd name="connsiteX4" fmla="*/ 149 w 44941"/>
                  <a:gd name="connsiteY4" fmla="*/ 42818 h 49821"/>
                  <a:gd name="connsiteX5" fmla="*/ 4408 w 44941"/>
                  <a:gd name="connsiteY5" fmla="*/ 49664 h 49821"/>
                  <a:gd name="connsiteX6" fmla="*/ 5720 w 44941"/>
                  <a:gd name="connsiteY6" fmla="*/ 49822 h 49821"/>
                  <a:gd name="connsiteX7" fmla="*/ 11278 w 44941"/>
                  <a:gd name="connsiteY7" fmla="*/ 45422 h 4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941" h="49821">
                    <a:moveTo>
                      <a:pt x="11278" y="45422"/>
                    </a:moveTo>
                    <a:cubicBezTo>
                      <a:pt x="11339" y="45172"/>
                      <a:pt x="17520" y="20298"/>
                      <a:pt x="41300" y="11043"/>
                    </a:cubicBezTo>
                    <a:cubicBezTo>
                      <a:pt x="44239" y="9890"/>
                      <a:pt x="45695" y="6578"/>
                      <a:pt x="44551" y="3639"/>
                    </a:cubicBezTo>
                    <a:cubicBezTo>
                      <a:pt x="43407" y="690"/>
                      <a:pt x="40090" y="-742"/>
                      <a:pt x="37151" y="383"/>
                    </a:cubicBezTo>
                    <a:cubicBezTo>
                      <a:pt x="7637" y="11880"/>
                      <a:pt x="441" y="41563"/>
                      <a:pt x="149" y="42818"/>
                    </a:cubicBezTo>
                    <a:cubicBezTo>
                      <a:pt x="-563" y="45888"/>
                      <a:pt x="1344" y="48947"/>
                      <a:pt x="4408" y="49664"/>
                    </a:cubicBezTo>
                    <a:cubicBezTo>
                      <a:pt x="4846" y="49767"/>
                      <a:pt x="5288" y="49822"/>
                      <a:pt x="5720" y="49822"/>
                    </a:cubicBezTo>
                    <a:cubicBezTo>
                      <a:pt x="8306" y="49822"/>
                      <a:pt x="10655" y="48045"/>
                      <a:pt x="11278" y="45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75927DD-AE64-44B0-84BB-4A474D9B2DFD}"/>
                  </a:ext>
                </a:extLst>
              </p:cNvPr>
              <p:cNvSpPr/>
              <p:nvPr/>
            </p:nvSpPr>
            <p:spPr>
              <a:xfrm>
                <a:off x="684308" y="2991599"/>
                <a:ext cx="143307" cy="180965"/>
              </a:xfrm>
              <a:custGeom>
                <a:avLst/>
                <a:gdLst>
                  <a:gd name="connsiteX0" fmla="*/ 71657 w 143307"/>
                  <a:gd name="connsiteY0" fmla="*/ 180966 h 180965"/>
                  <a:gd name="connsiteX1" fmla="*/ 143307 w 143307"/>
                  <a:gd name="connsiteY1" fmla="*/ 90478 h 180965"/>
                  <a:gd name="connsiteX2" fmla="*/ 71657 w 143307"/>
                  <a:gd name="connsiteY2" fmla="*/ 0 h 180965"/>
                  <a:gd name="connsiteX3" fmla="*/ 0 w 143307"/>
                  <a:gd name="connsiteY3" fmla="*/ 90478 h 180965"/>
                  <a:gd name="connsiteX4" fmla="*/ 71657 w 143307"/>
                  <a:gd name="connsiteY4" fmla="*/ 180966 h 180965"/>
                  <a:gd name="connsiteX5" fmla="*/ 71657 w 143307"/>
                  <a:gd name="connsiteY5" fmla="*/ 11423 h 180965"/>
                  <a:gd name="connsiteX6" fmla="*/ 131876 w 143307"/>
                  <a:gd name="connsiteY6" fmla="*/ 90478 h 180965"/>
                  <a:gd name="connsiteX7" fmla="*/ 71657 w 143307"/>
                  <a:gd name="connsiteY7" fmla="*/ 169543 h 180965"/>
                  <a:gd name="connsiteX8" fmla="*/ 11432 w 143307"/>
                  <a:gd name="connsiteY8" fmla="*/ 90478 h 180965"/>
                  <a:gd name="connsiteX9" fmla="*/ 71657 w 143307"/>
                  <a:gd name="connsiteY9" fmla="*/ 11423 h 1809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3307" h="180965">
                    <a:moveTo>
                      <a:pt x="71657" y="180966"/>
                    </a:moveTo>
                    <a:cubicBezTo>
                      <a:pt x="111165" y="180966"/>
                      <a:pt x="143307" y="140373"/>
                      <a:pt x="143307" y="90478"/>
                    </a:cubicBezTo>
                    <a:cubicBezTo>
                      <a:pt x="143307" y="40584"/>
                      <a:pt x="111165" y="0"/>
                      <a:pt x="71657" y="0"/>
                    </a:cubicBezTo>
                    <a:cubicBezTo>
                      <a:pt x="32147" y="0"/>
                      <a:pt x="0" y="40584"/>
                      <a:pt x="0" y="90478"/>
                    </a:cubicBezTo>
                    <a:cubicBezTo>
                      <a:pt x="10" y="140373"/>
                      <a:pt x="32156" y="180966"/>
                      <a:pt x="71657" y="180966"/>
                    </a:cubicBezTo>
                    <a:close/>
                    <a:moveTo>
                      <a:pt x="71657" y="11423"/>
                    </a:moveTo>
                    <a:cubicBezTo>
                      <a:pt x="104864" y="11423"/>
                      <a:pt x="131876" y="46890"/>
                      <a:pt x="131876" y="90478"/>
                    </a:cubicBezTo>
                    <a:cubicBezTo>
                      <a:pt x="131876" y="134076"/>
                      <a:pt x="104864" y="169543"/>
                      <a:pt x="71657" y="169543"/>
                    </a:cubicBezTo>
                    <a:cubicBezTo>
                      <a:pt x="38458" y="169543"/>
                      <a:pt x="11441" y="134076"/>
                      <a:pt x="11432" y="90478"/>
                    </a:cubicBezTo>
                    <a:cubicBezTo>
                      <a:pt x="11432" y="46890"/>
                      <a:pt x="38450" y="11423"/>
                      <a:pt x="71657" y="114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aphic 17">
              <a:extLst>
                <a:ext uri="{FF2B5EF4-FFF2-40B4-BE49-F238E27FC236}">
                  <a16:creationId xmlns:a16="http://schemas.microsoft.com/office/drawing/2014/main" id="{1F7019E8-CEC6-4EFF-84F3-2A6435C80969}"/>
                </a:ext>
              </a:extLst>
            </p:cNvPr>
            <p:cNvGrpSpPr/>
            <p:nvPr/>
          </p:nvGrpSpPr>
          <p:grpSpPr>
            <a:xfrm>
              <a:off x="2749887" y="4024846"/>
              <a:ext cx="575504" cy="756392"/>
              <a:chOff x="1808918" y="2291678"/>
              <a:chExt cx="240599" cy="316222"/>
            </a:xfrm>
            <a:solidFill>
              <a:schemeClr val="bg1"/>
            </a:solidFill>
          </p:grpSpPr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39189D9A-DE77-45F6-84A3-788AB334386F}"/>
                  </a:ext>
                </a:extLst>
              </p:cNvPr>
              <p:cNvSpPr/>
              <p:nvPr/>
            </p:nvSpPr>
            <p:spPr>
              <a:xfrm>
                <a:off x="1808918" y="2291678"/>
                <a:ext cx="240599" cy="316222"/>
              </a:xfrm>
              <a:custGeom>
                <a:avLst/>
                <a:gdLst>
                  <a:gd name="connsiteX0" fmla="*/ 225438 w 240599"/>
                  <a:gd name="connsiteY0" fmla="*/ 39895 h 316222"/>
                  <a:gd name="connsiteX1" fmla="*/ 183849 w 240599"/>
                  <a:gd name="connsiteY1" fmla="*/ 39895 h 316222"/>
                  <a:gd name="connsiteX2" fmla="*/ 183849 w 240599"/>
                  <a:gd name="connsiteY2" fmla="*/ 31486 h 316222"/>
                  <a:gd name="connsiteX3" fmla="*/ 171069 w 240599"/>
                  <a:gd name="connsiteY3" fmla="*/ 18706 h 316222"/>
                  <a:gd name="connsiteX4" fmla="*/ 144047 w 240599"/>
                  <a:gd name="connsiteY4" fmla="*/ 18706 h 316222"/>
                  <a:gd name="connsiteX5" fmla="*/ 120300 w 240599"/>
                  <a:gd name="connsiteY5" fmla="*/ 0 h 316222"/>
                  <a:gd name="connsiteX6" fmla="*/ 96552 w 240599"/>
                  <a:gd name="connsiteY6" fmla="*/ 18706 h 316222"/>
                  <a:gd name="connsiteX7" fmla="*/ 69530 w 240599"/>
                  <a:gd name="connsiteY7" fmla="*/ 18706 h 316222"/>
                  <a:gd name="connsiteX8" fmla="*/ 56750 w 240599"/>
                  <a:gd name="connsiteY8" fmla="*/ 31486 h 316222"/>
                  <a:gd name="connsiteX9" fmla="*/ 56750 w 240599"/>
                  <a:gd name="connsiteY9" fmla="*/ 39895 h 316222"/>
                  <a:gd name="connsiteX10" fmla="*/ 15162 w 240599"/>
                  <a:gd name="connsiteY10" fmla="*/ 39895 h 316222"/>
                  <a:gd name="connsiteX11" fmla="*/ 0 w 240599"/>
                  <a:gd name="connsiteY11" fmla="*/ 55048 h 316222"/>
                  <a:gd name="connsiteX12" fmla="*/ 0 w 240599"/>
                  <a:gd name="connsiteY12" fmla="*/ 301070 h 316222"/>
                  <a:gd name="connsiteX13" fmla="*/ 15162 w 240599"/>
                  <a:gd name="connsiteY13" fmla="*/ 316223 h 316222"/>
                  <a:gd name="connsiteX14" fmla="*/ 225438 w 240599"/>
                  <a:gd name="connsiteY14" fmla="*/ 316223 h 316222"/>
                  <a:gd name="connsiteX15" fmla="*/ 240599 w 240599"/>
                  <a:gd name="connsiteY15" fmla="*/ 301070 h 316222"/>
                  <a:gd name="connsiteX16" fmla="*/ 240599 w 240599"/>
                  <a:gd name="connsiteY16" fmla="*/ 55048 h 316222"/>
                  <a:gd name="connsiteX17" fmla="*/ 225438 w 240599"/>
                  <a:gd name="connsiteY17" fmla="*/ 39895 h 316222"/>
                  <a:gd name="connsiteX18" fmla="*/ 68172 w 240599"/>
                  <a:gd name="connsiteY18" fmla="*/ 31486 h 316222"/>
                  <a:gd name="connsiteX19" fmla="*/ 69530 w 240599"/>
                  <a:gd name="connsiteY19" fmla="*/ 30128 h 316222"/>
                  <a:gd name="connsiteX20" fmla="*/ 101593 w 240599"/>
                  <a:gd name="connsiteY20" fmla="*/ 30128 h 316222"/>
                  <a:gd name="connsiteX21" fmla="*/ 107305 w 240599"/>
                  <a:gd name="connsiteY21" fmla="*/ 24417 h 316222"/>
                  <a:gd name="connsiteX22" fmla="*/ 120300 w 240599"/>
                  <a:gd name="connsiteY22" fmla="*/ 11423 h 316222"/>
                  <a:gd name="connsiteX23" fmla="*/ 133295 w 240599"/>
                  <a:gd name="connsiteY23" fmla="*/ 24417 h 316222"/>
                  <a:gd name="connsiteX24" fmla="*/ 139006 w 240599"/>
                  <a:gd name="connsiteY24" fmla="*/ 30128 h 316222"/>
                  <a:gd name="connsiteX25" fmla="*/ 171069 w 240599"/>
                  <a:gd name="connsiteY25" fmla="*/ 30128 h 316222"/>
                  <a:gd name="connsiteX26" fmla="*/ 172427 w 240599"/>
                  <a:gd name="connsiteY26" fmla="*/ 31486 h 316222"/>
                  <a:gd name="connsiteX27" fmla="*/ 172427 w 240599"/>
                  <a:gd name="connsiteY27" fmla="*/ 47151 h 316222"/>
                  <a:gd name="connsiteX28" fmla="*/ 168697 w 240599"/>
                  <a:gd name="connsiteY28" fmla="*/ 50881 h 316222"/>
                  <a:gd name="connsiteX29" fmla="*/ 71902 w 240599"/>
                  <a:gd name="connsiteY29" fmla="*/ 50881 h 316222"/>
                  <a:gd name="connsiteX30" fmla="*/ 68172 w 240599"/>
                  <a:gd name="connsiteY30" fmla="*/ 47151 h 316222"/>
                  <a:gd name="connsiteX31" fmla="*/ 68172 w 240599"/>
                  <a:gd name="connsiteY31" fmla="*/ 31486 h 316222"/>
                  <a:gd name="connsiteX32" fmla="*/ 38751 w 240599"/>
                  <a:gd name="connsiteY32" fmla="*/ 51318 h 316222"/>
                  <a:gd name="connsiteX33" fmla="*/ 57406 w 240599"/>
                  <a:gd name="connsiteY33" fmla="*/ 51318 h 316222"/>
                  <a:gd name="connsiteX34" fmla="*/ 71902 w 240599"/>
                  <a:gd name="connsiteY34" fmla="*/ 62303 h 316222"/>
                  <a:gd name="connsiteX35" fmla="*/ 168697 w 240599"/>
                  <a:gd name="connsiteY35" fmla="*/ 62303 h 316222"/>
                  <a:gd name="connsiteX36" fmla="*/ 183193 w 240599"/>
                  <a:gd name="connsiteY36" fmla="*/ 51318 h 316222"/>
                  <a:gd name="connsiteX37" fmla="*/ 201848 w 240599"/>
                  <a:gd name="connsiteY37" fmla="*/ 51318 h 316222"/>
                  <a:gd name="connsiteX38" fmla="*/ 201848 w 240599"/>
                  <a:gd name="connsiteY38" fmla="*/ 276643 h 316222"/>
                  <a:gd name="connsiteX39" fmla="*/ 199867 w 240599"/>
                  <a:gd name="connsiteY39" fmla="*/ 278616 h 316222"/>
                  <a:gd name="connsiteX40" fmla="*/ 40733 w 240599"/>
                  <a:gd name="connsiteY40" fmla="*/ 278616 h 316222"/>
                  <a:gd name="connsiteX41" fmla="*/ 38751 w 240599"/>
                  <a:gd name="connsiteY41" fmla="*/ 276643 h 316222"/>
                  <a:gd name="connsiteX42" fmla="*/ 38751 w 240599"/>
                  <a:gd name="connsiteY42" fmla="*/ 51318 h 316222"/>
                  <a:gd name="connsiteX43" fmla="*/ 229177 w 240599"/>
                  <a:gd name="connsiteY43" fmla="*/ 301070 h 316222"/>
                  <a:gd name="connsiteX44" fmla="*/ 225438 w 240599"/>
                  <a:gd name="connsiteY44" fmla="*/ 304800 h 316222"/>
                  <a:gd name="connsiteX45" fmla="*/ 15162 w 240599"/>
                  <a:gd name="connsiteY45" fmla="*/ 304800 h 316222"/>
                  <a:gd name="connsiteX46" fmla="*/ 11423 w 240599"/>
                  <a:gd name="connsiteY46" fmla="*/ 301070 h 316222"/>
                  <a:gd name="connsiteX47" fmla="*/ 11423 w 240599"/>
                  <a:gd name="connsiteY47" fmla="*/ 55048 h 316222"/>
                  <a:gd name="connsiteX48" fmla="*/ 15162 w 240599"/>
                  <a:gd name="connsiteY48" fmla="*/ 51318 h 316222"/>
                  <a:gd name="connsiteX49" fmla="*/ 27329 w 240599"/>
                  <a:gd name="connsiteY49" fmla="*/ 51318 h 316222"/>
                  <a:gd name="connsiteX50" fmla="*/ 27329 w 240599"/>
                  <a:gd name="connsiteY50" fmla="*/ 276643 h 316222"/>
                  <a:gd name="connsiteX51" fmla="*/ 40733 w 240599"/>
                  <a:gd name="connsiteY51" fmla="*/ 290038 h 316222"/>
                  <a:gd name="connsiteX52" fmla="*/ 199867 w 240599"/>
                  <a:gd name="connsiteY52" fmla="*/ 290038 h 316222"/>
                  <a:gd name="connsiteX53" fmla="*/ 213270 w 240599"/>
                  <a:gd name="connsiteY53" fmla="*/ 276643 h 316222"/>
                  <a:gd name="connsiteX54" fmla="*/ 213270 w 240599"/>
                  <a:gd name="connsiteY54" fmla="*/ 51318 h 316222"/>
                  <a:gd name="connsiteX55" fmla="*/ 225438 w 240599"/>
                  <a:gd name="connsiteY55" fmla="*/ 51318 h 316222"/>
                  <a:gd name="connsiteX56" fmla="*/ 229177 w 240599"/>
                  <a:gd name="connsiteY56" fmla="*/ 55048 h 316222"/>
                  <a:gd name="connsiteX57" fmla="*/ 229177 w 240599"/>
                  <a:gd name="connsiteY57" fmla="*/ 301070 h 316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40599" h="316222">
                    <a:moveTo>
                      <a:pt x="225438" y="39895"/>
                    </a:moveTo>
                    <a:lnTo>
                      <a:pt x="183849" y="39895"/>
                    </a:lnTo>
                    <a:lnTo>
                      <a:pt x="183849" y="31486"/>
                    </a:lnTo>
                    <a:cubicBezTo>
                      <a:pt x="183849" y="24436"/>
                      <a:pt x="178119" y="18706"/>
                      <a:pt x="171069" y="18706"/>
                    </a:cubicBezTo>
                    <a:lnTo>
                      <a:pt x="144047" y="18706"/>
                    </a:lnTo>
                    <a:cubicBezTo>
                      <a:pt x="141461" y="7981"/>
                      <a:pt x="131796" y="0"/>
                      <a:pt x="120300" y="0"/>
                    </a:cubicBezTo>
                    <a:cubicBezTo>
                      <a:pt x="108803" y="0"/>
                      <a:pt x="99138" y="7981"/>
                      <a:pt x="96552" y="18706"/>
                    </a:cubicBezTo>
                    <a:lnTo>
                      <a:pt x="69530" y="18706"/>
                    </a:lnTo>
                    <a:cubicBezTo>
                      <a:pt x="62480" y="18706"/>
                      <a:pt x="56750" y="24436"/>
                      <a:pt x="56750" y="31486"/>
                    </a:cubicBezTo>
                    <a:lnTo>
                      <a:pt x="56750" y="39895"/>
                    </a:lnTo>
                    <a:lnTo>
                      <a:pt x="15162" y="39895"/>
                    </a:lnTo>
                    <a:cubicBezTo>
                      <a:pt x="6800" y="39895"/>
                      <a:pt x="0" y="46695"/>
                      <a:pt x="0" y="55048"/>
                    </a:cubicBezTo>
                    <a:lnTo>
                      <a:pt x="0" y="301070"/>
                    </a:lnTo>
                    <a:cubicBezTo>
                      <a:pt x="0" y="309423"/>
                      <a:pt x="6800" y="316223"/>
                      <a:pt x="15162" y="316223"/>
                    </a:cubicBezTo>
                    <a:lnTo>
                      <a:pt x="225438" y="316223"/>
                    </a:lnTo>
                    <a:cubicBezTo>
                      <a:pt x="233800" y="316223"/>
                      <a:pt x="240599" y="309423"/>
                      <a:pt x="240599" y="301070"/>
                    </a:cubicBezTo>
                    <a:lnTo>
                      <a:pt x="240599" y="55048"/>
                    </a:lnTo>
                    <a:cubicBezTo>
                      <a:pt x="240599" y="46695"/>
                      <a:pt x="233800" y="39895"/>
                      <a:pt x="225438" y="39895"/>
                    </a:cubicBezTo>
                    <a:close/>
                    <a:moveTo>
                      <a:pt x="68172" y="31486"/>
                    </a:moveTo>
                    <a:cubicBezTo>
                      <a:pt x="68172" y="30752"/>
                      <a:pt x="68796" y="30128"/>
                      <a:pt x="69530" y="30128"/>
                    </a:cubicBezTo>
                    <a:lnTo>
                      <a:pt x="101593" y="30128"/>
                    </a:lnTo>
                    <a:cubicBezTo>
                      <a:pt x="104747" y="30128"/>
                      <a:pt x="107305" y="27570"/>
                      <a:pt x="107305" y="24417"/>
                    </a:cubicBezTo>
                    <a:cubicBezTo>
                      <a:pt x="107305" y="17255"/>
                      <a:pt x="113137" y="11423"/>
                      <a:pt x="120300" y="11423"/>
                    </a:cubicBezTo>
                    <a:cubicBezTo>
                      <a:pt x="127462" y="11423"/>
                      <a:pt x="133295" y="17255"/>
                      <a:pt x="133295" y="24417"/>
                    </a:cubicBezTo>
                    <a:cubicBezTo>
                      <a:pt x="133295" y="27570"/>
                      <a:pt x="135852" y="30128"/>
                      <a:pt x="139006" y="30128"/>
                    </a:cubicBezTo>
                    <a:lnTo>
                      <a:pt x="171069" y="30128"/>
                    </a:lnTo>
                    <a:cubicBezTo>
                      <a:pt x="171803" y="30128"/>
                      <a:pt x="172427" y="30752"/>
                      <a:pt x="172427" y="31486"/>
                    </a:cubicBezTo>
                    <a:lnTo>
                      <a:pt x="172427" y="47151"/>
                    </a:lnTo>
                    <a:cubicBezTo>
                      <a:pt x="172427" y="49206"/>
                      <a:pt x="170753" y="50881"/>
                      <a:pt x="168697" y="50881"/>
                    </a:cubicBezTo>
                    <a:lnTo>
                      <a:pt x="71902" y="50881"/>
                    </a:lnTo>
                    <a:cubicBezTo>
                      <a:pt x="69847" y="50881"/>
                      <a:pt x="68172" y="49206"/>
                      <a:pt x="68172" y="47151"/>
                    </a:cubicBezTo>
                    <a:lnTo>
                      <a:pt x="68172" y="31486"/>
                    </a:lnTo>
                    <a:close/>
                    <a:moveTo>
                      <a:pt x="38751" y="51318"/>
                    </a:moveTo>
                    <a:lnTo>
                      <a:pt x="57406" y="51318"/>
                    </a:lnTo>
                    <a:cubicBezTo>
                      <a:pt x="59231" y="57638"/>
                      <a:pt x="65004" y="62303"/>
                      <a:pt x="71902" y="62303"/>
                    </a:cubicBezTo>
                    <a:lnTo>
                      <a:pt x="168697" y="62303"/>
                    </a:lnTo>
                    <a:cubicBezTo>
                      <a:pt x="175595" y="62303"/>
                      <a:pt x="181368" y="57638"/>
                      <a:pt x="183193" y="51318"/>
                    </a:cubicBezTo>
                    <a:lnTo>
                      <a:pt x="201848" y="51318"/>
                    </a:lnTo>
                    <a:lnTo>
                      <a:pt x="201848" y="276643"/>
                    </a:lnTo>
                    <a:cubicBezTo>
                      <a:pt x="201848" y="277713"/>
                      <a:pt x="200936" y="278616"/>
                      <a:pt x="199867" y="278616"/>
                    </a:cubicBezTo>
                    <a:lnTo>
                      <a:pt x="40733" y="278616"/>
                    </a:lnTo>
                    <a:cubicBezTo>
                      <a:pt x="39663" y="278616"/>
                      <a:pt x="38751" y="277713"/>
                      <a:pt x="38751" y="276643"/>
                    </a:cubicBezTo>
                    <a:lnTo>
                      <a:pt x="38751" y="51318"/>
                    </a:lnTo>
                    <a:close/>
                    <a:moveTo>
                      <a:pt x="229177" y="301070"/>
                    </a:moveTo>
                    <a:cubicBezTo>
                      <a:pt x="229177" y="303088"/>
                      <a:pt x="227465" y="304800"/>
                      <a:pt x="225438" y="304800"/>
                    </a:cubicBezTo>
                    <a:lnTo>
                      <a:pt x="15162" y="304800"/>
                    </a:lnTo>
                    <a:cubicBezTo>
                      <a:pt x="13134" y="304800"/>
                      <a:pt x="11423" y="303088"/>
                      <a:pt x="11423" y="301070"/>
                    </a:cubicBezTo>
                    <a:lnTo>
                      <a:pt x="11423" y="55048"/>
                    </a:lnTo>
                    <a:cubicBezTo>
                      <a:pt x="11423" y="53029"/>
                      <a:pt x="13134" y="51318"/>
                      <a:pt x="15162" y="51318"/>
                    </a:cubicBezTo>
                    <a:lnTo>
                      <a:pt x="27329" y="51318"/>
                    </a:lnTo>
                    <a:lnTo>
                      <a:pt x="27329" y="276643"/>
                    </a:lnTo>
                    <a:cubicBezTo>
                      <a:pt x="27329" y="284029"/>
                      <a:pt x="33337" y="290038"/>
                      <a:pt x="40733" y="290038"/>
                    </a:cubicBezTo>
                    <a:lnTo>
                      <a:pt x="199867" y="290038"/>
                    </a:lnTo>
                    <a:cubicBezTo>
                      <a:pt x="207262" y="290038"/>
                      <a:pt x="213270" y="284029"/>
                      <a:pt x="213270" y="276643"/>
                    </a:cubicBezTo>
                    <a:lnTo>
                      <a:pt x="213270" y="51318"/>
                    </a:lnTo>
                    <a:lnTo>
                      <a:pt x="225438" y="51318"/>
                    </a:lnTo>
                    <a:cubicBezTo>
                      <a:pt x="227465" y="51318"/>
                      <a:pt x="229177" y="53029"/>
                      <a:pt x="229177" y="55048"/>
                    </a:cubicBezTo>
                    <a:lnTo>
                      <a:pt x="229177" y="30107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86CFB2D-F1EB-4713-83B9-FCDF8C6B09E9}"/>
                  </a:ext>
                </a:extLst>
              </p:cNvPr>
              <p:cNvSpPr/>
              <p:nvPr/>
            </p:nvSpPr>
            <p:spPr>
              <a:xfrm>
                <a:off x="1884309" y="2466495"/>
                <a:ext cx="90068" cy="87417"/>
              </a:xfrm>
              <a:custGeom>
                <a:avLst/>
                <a:gdLst>
                  <a:gd name="connsiteX0" fmla="*/ 19663 w 90068"/>
                  <a:gd name="connsiteY0" fmla="*/ 31040 h 87417"/>
                  <a:gd name="connsiteX1" fmla="*/ 30388 w 90068"/>
                  <a:gd name="connsiteY1" fmla="*/ 56295 h 87417"/>
                  <a:gd name="connsiteX2" fmla="*/ 25384 w 90068"/>
                  <a:gd name="connsiteY2" fmla="*/ 56295 h 87417"/>
                  <a:gd name="connsiteX3" fmla="*/ 0 w 90068"/>
                  <a:gd name="connsiteY3" fmla="*/ 81706 h 87417"/>
                  <a:gd name="connsiteX4" fmla="*/ 5711 w 90068"/>
                  <a:gd name="connsiteY4" fmla="*/ 87418 h 87417"/>
                  <a:gd name="connsiteX5" fmla="*/ 11422 w 90068"/>
                  <a:gd name="connsiteY5" fmla="*/ 81706 h 87417"/>
                  <a:gd name="connsiteX6" fmla="*/ 25384 w 90068"/>
                  <a:gd name="connsiteY6" fmla="*/ 67717 h 87417"/>
                  <a:gd name="connsiteX7" fmla="*/ 64693 w 90068"/>
                  <a:gd name="connsiteY7" fmla="*/ 67717 h 87417"/>
                  <a:gd name="connsiteX8" fmla="*/ 78646 w 90068"/>
                  <a:gd name="connsiteY8" fmla="*/ 81706 h 87417"/>
                  <a:gd name="connsiteX9" fmla="*/ 84357 w 90068"/>
                  <a:gd name="connsiteY9" fmla="*/ 87418 h 87417"/>
                  <a:gd name="connsiteX10" fmla="*/ 90068 w 90068"/>
                  <a:gd name="connsiteY10" fmla="*/ 81706 h 87417"/>
                  <a:gd name="connsiteX11" fmla="*/ 64693 w 90068"/>
                  <a:gd name="connsiteY11" fmla="*/ 56295 h 87417"/>
                  <a:gd name="connsiteX12" fmla="*/ 59693 w 90068"/>
                  <a:gd name="connsiteY12" fmla="*/ 56295 h 87417"/>
                  <a:gd name="connsiteX13" fmla="*/ 70405 w 90068"/>
                  <a:gd name="connsiteY13" fmla="*/ 31040 h 87417"/>
                  <a:gd name="connsiteX14" fmla="*/ 45039 w 90068"/>
                  <a:gd name="connsiteY14" fmla="*/ 0 h 87417"/>
                  <a:gd name="connsiteX15" fmla="*/ 19663 w 90068"/>
                  <a:gd name="connsiteY15" fmla="*/ 31040 h 87417"/>
                  <a:gd name="connsiteX16" fmla="*/ 45039 w 90068"/>
                  <a:gd name="connsiteY16" fmla="*/ 11422 h 87417"/>
                  <a:gd name="connsiteX17" fmla="*/ 58982 w 90068"/>
                  <a:gd name="connsiteY17" fmla="*/ 31040 h 87417"/>
                  <a:gd name="connsiteX18" fmla="*/ 45039 w 90068"/>
                  <a:gd name="connsiteY18" fmla="*/ 50666 h 87417"/>
                  <a:gd name="connsiteX19" fmla="*/ 31086 w 90068"/>
                  <a:gd name="connsiteY19" fmla="*/ 31040 h 87417"/>
                  <a:gd name="connsiteX20" fmla="*/ 45039 w 90068"/>
                  <a:gd name="connsiteY20" fmla="*/ 11422 h 8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0068" h="87417">
                    <a:moveTo>
                      <a:pt x="19663" y="31040"/>
                    </a:moveTo>
                    <a:cubicBezTo>
                      <a:pt x="19669" y="41468"/>
                      <a:pt x="23927" y="50661"/>
                      <a:pt x="30388" y="56295"/>
                    </a:cubicBezTo>
                    <a:lnTo>
                      <a:pt x="25384" y="56295"/>
                    </a:lnTo>
                    <a:cubicBezTo>
                      <a:pt x="11385" y="56295"/>
                      <a:pt x="0" y="67689"/>
                      <a:pt x="0" y="81706"/>
                    </a:cubicBezTo>
                    <a:cubicBezTo>
                      <a:pt x="0" y="84860"/>
                      <a:pt x="2557" y="87418"/>
                      <a:pt x="5711" y="87418"/>
                    </a:cubicBezTo>
                    <a:cubicBezTo>
                      <a:pt x="8864" y="87418"/>
                      <a:pt x="11422" y="84860"/>
                      <a:pt x="11422" y="81706"/>
                    </a:cubicBezTo>
                    <a:cubicBezTo>
                      <a:pt x="11422" y="73996"/>
                      <a:pt x="17692" y="67717"/>
                      <a:pt x="25384" y="67717"/>
                    </a:cubicBezTo>
                    <a:lnTo>
                      <a:pt x="64693" y="67717"/>
                    </a:lnTo>
                    <a:cubicBezTo>
                      <a:pt x="72386" y="67717"/>
                      <a:pt x="78646" y="73996"/>
                      <a:pt x="78646" y="81706"/>
                    </a:cubicBezTo>
                    <a:cubicBezTo>
                      <a:pt x="78646" y="84860"/>
                      <a:pt x="81203" y="87418"/>
                      <a:pt x="84357" y="87418"/>
                    </a:cubicBezTo>
                    <a:cubicBezTo>
                      <a:pt x="87511" y="87418"/>
                      <a:pt x="90068" y="84860"/>
                      <a:pt x="90068" y="81706"/>
                    </a:cubicBezTo>
                    <a:cubicBezTo>
                      <a:pt x="90068" y="67689"/>
                      <a:pt x="78683" y="56295"/>
                      <a:pt x="64693" y="56295"/>
                    </a:cubicBezTo>
                    <a:lnTo>
                      <a:pt x="59693" y="56295"/>
                    </a:lnTo>
                    <a:cubicBezTo>
                      <a:pt x="66152" y="50661"/>
                      <a:pt x="70405" y="41468"/>
                      <a:pt x="70405" y="31040"/>
                    </a:cubicBezTo>
                    <a:cubicBezTo>
                      <a:pt x="70405" y="13925"/>
                      <a:pt x="59028" y="0"/>
                      <a:pt x="45039" y="0"/>
                    </a:cubicBezTo>
                    <a:cubicBezTo>
                      <a:pt x="31049" y="0"/>
                      <a:pt x="19663" y="13925"/>
                      <a:pt x="19663" y="31040"/>
                    </a:cubicBezTo>
                    <a:close/>
                    <a:moveTo>
                      <a:pt x="45039" y="11422"/>
                    </a:moveTo>
                    <a:cubicBezTo>
                      <a:pt x="52591" y="11422"/>
                      <a:pt x="58982" y="20408"/>
                      <a:pt x="58982" y="31040"/>
                    </a:cubicBezTo>
                    <a:cubicBezTo>
                      <a:pt x="58982" y="41681"/>
                      <a:pt x="52591" y="50666"/>
                      <a:pt x="45039" y="50666"/>
                    </a:cubicBezTo>
                    <a:cubicBezTo>
                      <a:pt x="37486" y="50666"/>
                      <a:pt x="31095" y="41672"/>
                      <a:pt x="31086" y="31040"/>
                    </a:cubicBezTo>
                    <a:cubicBezTo>
                      <a:pt x="31086" y="20408"/>
                      <a:pt x="37476" y="11422"/>
                      <a:pt x="45039" y="11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E22024E-6C36-4AF7-A3C1-A99AFEE75C00}"/>
                  </a:ext>
                </a:extLst>
              </p:cNvPr>
              <p:cNvSpPr/>
              <p:nvPr/>
            </p:nvSpPr>
            <p:spPr>
              <a:xfrm>
                <a:off x="1867608" y="2391394"/>
                <a:ext cx="52923" cy="44935"/>
              </a:xfrm>
              <a:custGeom>
                <a:avLst/>
                <a:gdLst>
                  <a:gd name="connsiteX0" fmla="*/ 10793 w 52923"/>
                  <a:gd name="connsiteY0" fmla="*/ 43112 h 44935"/>
                  <a:gd name="connsiteX1" fmla="*/ 14933 w 52923"/>
                  <a:gd name="connsiteY1" fmla="*/ 44935 h 44935"/>
                  <a:gd name="connsiteX2" fmla="*/ 14980 w 52923"/>
                  <a:gd name="connsiteY2" fmla="*/ 44935 h 44935"/>
                  <a:gd name="connsiteX3" fmla="*/ 19100 w 52923"/>
                  <a:gd name="connsiteY3" fmla="*/ 43187 h 44935"/>
                  <a:gd name="connsiteX4" fmla="*/ 51331 w 52923"/>
                  <a:gd name="connsiteY4" fmla="*/ 9673 h 44935"/>
                  <a:gd name="connsiteX5" fmla="*/ 51173 w 52923"/>
                  <a:gd name="connsiteY5" fmla="*/ 1589 h 44935"/>
                  <a:gd name="connsiteX6" fmla="*/ 43090 w 52923"/>
                  <a:gd name="connsiteY6" fmla="*/ 1747 h 44935"/>
                  <a:gd name="connsiteX7" fmla="*/ 15044 w 52923"/>
                  <a:gd name="connsiteY7" fmla="*/ 30909 h 44935"/>
                  <a:gd name="connsiteX8" fmla="*/ 9901 w 52923"/>
                  <a:gd name="connsiteY8" fmla="*/ 25374 h 44935"/>
                  <a:gd name="connsiteX9" fmla="*/ 1827 w 52923"/>
                  <a:gd name="connsiteY9" fmla="*/ 25077 h 44935"/>
                  <a:gd name="connsiteX10" fmla="*/ 1529 w 52923"/>
                  <a:gd name="connsiteY10" fmla="*/ 33150 h 44935"/>
                  <a:gd name="connsiteX11" fmla="*/ 10793 w 52923"/>
                  <a:gd name="connsiteY11" fmla="*/ 43112 h 44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923" h="44935">
                    <a:moveTo>
                      <a:pt x="10793" y="43112"/>
                    </a:moveTo>
                    <a:cubicBezTo>
                      <a:pt x="11863" y="44266"/>
                      <a:pt x="13361" y="44926"/>
                      <a:pt x="14933" y="44935"/>
                    </a:cubicBezTo>
                    <a:cubicBezTo>
                      <a:pt x="14952" y="44935"/>
                      <a:pt x="14961" y="44935"/>
                      <a:pt x="14980" y="44935"/>
                    </a:cubicBezTo>
                    <a:cubicBezTo>
                      <a:pt x="16533" y="44935"/>
                      <a:pt x="18021" y="44303"/>
                      <a:pt x="19100" y="43187"/>
                    </a:cubicBezTo>
                    <a:lnTo>
                      <a:pt x="51331" y="9673"/>
                    </a:lnTo>
                    <a:cubicBezTo>
                      <a:pt x="53517" y="7394"/>
                      <a:pt x="53443" y="3775"/>
                      <a:pt x="51173" y="1589"/>
                    </a:cubicBezTo>
                    <a:cubicBezTo>
                      <a:pt x="48912" y="-587"/>
                      <a:pt x="45294" y="-522"/>
                      <a:pt x="43090" y="1747"/>
                    </a:cubicBezTo>
                    <a:lnTo>
                      <a:pt x="15044" y="30909"/>
                    </a:lnTo>
                    <a:lnTo>
                      <a:pt x="9901" y="25374"/>
                    </a:lnTo>
                    <a:cubicBezTo>
                      <a:pt x="7743" y="23039"/>
                      <a:pt x="4134" y="22928"/>
                      <a:pt x="1827" y="25077"/>
                    </a:cubicBezTo>
                    <a:cubicBezTo>
                      <a:pt x="-489" y="27225"/>
                      <a:pt x="-619" y="30843"/>
                      <a:pt x="1529" y="33150"/>
                    </a:cubicBezTo>
                    <a:lnTo>
                      <a:pt x="10793" y="43112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D332D3CC-DA70-4952-A09C-3BC573F39A9E}"/>
                  </a:ext>
                </a:extLst>
              </p:cNvPr>
              <p:cNvSpPr/>
              <p:nvPr/>
            </p:nvSpPr>
            <p:spPr>
              <a:xfrm>
                <a:off x="1936296" y="2396211"/>
                <a:ext cx="54526" cy="11422"/>
              </a:xfrm>
              <a:custGeom>
                <a:avLst/>
                <a:gdLst>
                  <a:gd name="connsiteX0" fmla="*/ 5711 w 54526"/>
                  <a:gd name="connsiteY0" fmla="*/ 11422 h 11422"/>
                  <a:gd name="connsiteX1" fmla="*/ 48816 w 54526"/>
                  <a:gd name="connsiteY1" fmla="*/ 11422 h 11422"/>
                  <a:gd name="connsiteX2" fmla="*/ 54527 w 54526"/>
                  <a:gd name="connsiteY2" fmla="*/ 5711 h 11422"/>
                  <a:gd name="connsiteX3" fmla="*/ 48816 w 54526"/>
                  <a:gd name="connsiteY3" fmla="*/ 0 h 11422"/>
                  <a:gd name="connsiteX4" fmla="*/ 5711 w 54526"/>
                  <a:gd name="connsiteY4" fmla="*/ 0 h 11422"/>
                  <a:gd name="connsiteX5" fmla="*/ 0 w 54526"/>
                  <a:gd name="connsiteY5" fmla="*/ 5711 h 11422"/>
                  <a:gd name="connsiteX6" fmla="*/ 5711 w 54526"/>
                  <a:gd name="connsiteY6" fmla="*/ 11422 h 11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526" h="11422">
                    <a:moveTo>
                      <a:pt x="5711" y="11422"/>
                    </a:moveTo>
                    <a:lnTo>
                      <a:pt x="48816" y="11422"/>
                    </a:lnTo>
                    <a:cubicBezTo>
                      <a:pt x="51968" y="11422"/>
                      <a:pt x="54527" y="8865"/>
                      <a:pt x="54527" y="5711"/>
                    </a:cubicBezTo>
                    <a:cubicBezTo>
                      <a:pt x="54527" y="2558"/>
                      <a:pt x="51968" y="0"/>
                      <a:pt x="48816" y="0"/>
                    </a:cubicBezTo>
                    <a:lnTo>
                      <a:pt x="5711" y="0"/>
                    </a:lnTo>
                    <a:cubicBezTo>
                      <a:pt x="2557" y="0"/>
                      <a:pt x="0" y="2558"/>
                      <a:pt x="0" y="5711"/>
                    </a:cubicBezTo>
                    <a:cubicBezTo>
                      <a:pt x="0" y="8865"/>
                      <a:pt x="2557" y="11422"/>
                      <a:pt x="5711" y="11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3B82A4DC-3D58-478E-97B5-E2DA19243B46}"/>
                  </a:ext>
                </a:extLst>
              </p:cNvPr>
              <p:cNvSpPr/>
              <p:nvPr/>
            </p:nvSpPr>
            <p:spPr>
              <a:xfrm>
                <a:off x="1936296" y="2424907"/>
                <a:ext cx="54526" cy="11422"/>
              </a:xfrm>
              <a:custGeom>
                <a:avLst/>
                <a:gdLst>
                  <a:gd name="connsiteX0" fmla="*/ 5711 w 54526"/>
                  <a:gd name="connsiteY0" fmla="*/ 11422 h 11422"/>
                  <a:gd name="connsiteX1" fmla="*/ 48816 w 54526"/>
                  <a:gd name="connsiteY1" fmla="*/ 11422 h 11422"/>
                  <a:gd name="connsiteX2" fmla="*/ 54527 w 54526"/>
                  <a:gd name="connsiteY2" fmla="*/ 5711 h 11422"/>
                  <a:gd name="connsiteX3" fmla="*/ 48816 w 54526"/>
                  <a:gd name="connsiteY3" fmla="*/ 0 h 11422"/>
                  <a:gd name="connsiteX4" fmla="*/ 5711 w 54526"/>
                  <a:gd name="connsiteY4" fmla="*/ 0 h 11422"/>
                  <a:gd name="connsiteX5" fmla="*/ 0 w 54526"/>
                  <a:gd name="connsiteY5" fmla="*/ 5711 h 11422"/>
                  <a:gd name="connsiteX6" fmla="*/ 5711 w 54526"/>
                  <a:gd name="connsiteY6" fmla="*/ 11422 h 11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4526" h="11422">
                    <a:moveTo>
                      <a:pt x="5711" y="11422"/>
                    </a:moveTo>
                    <a:lnTo>
                      <a:pt x="48816" y="11422"/>
                    </a:lnTo>
                    <a:cubicBezTo>
                      <a:pt x="51968" y="11422"/>
                      <a:pt x="54527" y="8865"/>
                      <a:pt x="54527" y="5711"/>
                    </a:cubicBezTo>
                    <a:cubicBezTo>
                      <a:pt x="54527" y="2558"/>
                      <a:pt x="51968" y="0"/>
                      <a:pt x="48816" y="0"/>
                    </a:cubicBezTo>
                    <a:lnTo>
                      <a:pt x="5711" y="0"/>
                    </a:lnTo>
                    <a:cubicBezTo>
                      <a:pt x="2557" y="0"/>
                      <a:pt x="0" y="2558"/>
                      <a:pt x="0" y="5711"/>
                    </a:cubicBezTo>
                    <a:cubicBezTo>
                      <a:pt x="0" y="8865"/>
                      <a:pt x="2557" y="11422"/>
                      <a:pt x="5711" y="11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0" name="Graphic 511">
              <a:extLst>
                <a:ext uri="{FF2B5EF4-FFF2-40B4-BE49-F238E27FC236}">
                  <a16:creationId xmlns:a16="http://schemas.microsoft.com/office/drawing/2014/main" id="{F89E0719-4E9C-4E2E-98A8-C24EF017ED7C}"/>
                </a:ext>
              </a:extLst>
            </p:cNvPr>
            <p:cNvSpPr/>
            <p:nvPr/>
          </p:nvSpPr>
          <p:spPr>
            <a:xfrm>
              <a:off x="5465278" y="3991042"/>
              <a:ext cx="575504" cy="946021"/>
            </a:xfrm>
            <a:custGeom>
              <a:avLst/>
              <a:gdLst>
                <a:gd name="connsiteX0" fmla="*/ 196451 w 203963"/>
                <a:gd name="connsiteY0" fmla="*/ 180384 h 335277"/>
                <a:gd name="connsiteX1" fmla="*/ 195502 w 203963"/>
                <a:gd name="connsiteY1" fmla="*/ 179925 h 335277"/>
                <a:gd name="connsiteX2" fmla="*/ 195502 w 203963"/>
                <a:gd name="connsiteY2" fmla="*/ 153809 h 335277"/>
                <a:gd name="connsiteX3" fmla="*/ 187847 w 203963"/>
                <a:gd name="connsiteY3" fmla="*/ 82307 h 335277"/>
                <a:gd name="connsiteX4" fmla="*/ 151789 w 203963"/>
                <a:gd name="connsiteY4" fmla="*/ 16869 h 335277"/>
                <a:gd name="connsiteX5" fmla="*/ 102108 w 203963"/>
                <a:gd name="connsiteY5" fmla="*/ 0 h 335277"/>
                <a:gd name="connsiteX6" fmla="*/ 52455 w 203963"/>
                <a:gd name="connsiteY6" fmla="*/ 16869 h 335277"/>
                <a:gd name="connsiteX7" fmla="*/ 24252 w 203963"/>
                <a:gd name="connsiteY7" fmla="*/ 57583 h 335277"/>
                <a:gd name="connsiteX8" fmla="*/ 8732 w 203963"/>
                <a:gd name="connsiteY8" fmla="*/ 153753 h 335277"/>
                <a:gd name="connsiteX9" fmla="*/ 8486 w 203963"/>
                <a:gd name="connsiteY9" fmla="*/ 179897 h 335277"/>
                <a:gd name="connsiteX10" fmla="*/ 7541 w 203963"/>
                <a:gd name="connsiteY10" fmla="*/ 180347 h 335277"/>
                <a:gd name="connsiteX11" fmla="*/ 370 w 203963"/>
                <a:gd name="connsiteY11" fmla="*/ 197220 h 335277"/>
                <a:gd name="connsiteX12" fmla="*/ 19280 w 203963"/>
                <a:gd name="connsiteY12" fmla="*/ 209331 h 335277"/>
                <a:gd name="connsiteX13" fmla="*/ 52995 w 203963"/>
                <a:gd name="connsiteY13" fmla="*/ 191491 h 335277"/>
                <a:gd name="connsiteX14" fmla="*/ 61897 w 203963"/>
                <a:gd name="connsiteY14" fmla="*/ 182570 h 335277"/>
                <a:gd name="connsiteX15" fmla="*/ 61897 w 203963"/>
                <a:gd name="connsiteY15" fmla="*/ 313884 h 335277"/>
                <a:gd name="connsiteX16" fmla="*/ 83309 w 203963"/>
                <a:gd name="connsiteY16" fmla="*/ 335278 h 335277"/>
                <a:gd name="connsiteX17" fmla="*/ 101959 w 203963"/>
                <a:gd name="connsiteY17" fmla="*/ 327184 h 335277"/>
                <a:gd name="connsiteX18" fmla="*/ 120609 w 203963"/>
                <a:gd name="connsiteY18" fmla="*/ 335278 h 335277"/>
                <a:gd name="connsiteX19" fmla="*/ 142031 w 203963"/>
                <a:gd name="connsiteY19" fmla="*/ 313884 h 335277"/>
                <a:gd name="connsiteX20" fmla="*/ 142031 w 203963"/>
                <a:gd name="connsiteY20" fmla="*/ 182579 h 335277"/>
                <a:gd name="connsiteX21" fmla="*/ 150933 w 203963"/>
                <a:gd name="connsiteY21" fmla="*/ 191500 h 335277"/>
                <a:gd name="connsiteX22" fmla="*/ 184675 w 203963"/>
                <a:gd name="connsiteY22" fmla="*/ 209341 h 335277"/>
                <a:gd name="connsiteX23" fmla="*/ 203562 w 203963"/>
                <a:gd name="connsiteY23" fmla="*/ 197220 h 335277"/>
                <a:gd name="connsiteX24" fmla="*/ 196451 w 203963"/>
                <a:gd name="connsiteY24" fmla="*/ 180384 h 335277"/>
                <a:gd name="connsiteX25" fmla="*/ 34842 w 203963"/>
                <a:gd name="connsiteY25" fmla="*/ 61885 h 335277"/>
                <a:gd name="connsiteX26" fmla="*/ 59706 w 203963"/>
                <a:gd name="connsiteY26" fmla="*/ 25705 h 335277"/>
                <a:gd name="connsiteX27" fmla="*/ 102108 w 203963"/>
                <a:gd name="connsiteY27" fmla="*/ 11432 h 335277"/>
                <a:gd name="connsiteX28" fmla="*/ 144542 w 203963"/>
                <a:gd name="connsiteY28" fmla="*/ 25705 h 335277"/>
                <a:gd name="connsiteX29" fmla="*/ 176741 w 203963"/>
                <a:gd name="connsiteY29" fmla="*/ 85009 h 335277"/>
                <a:gd name="connsiteX30" fmla="*/ 184070 w 203963"/>
                <a:gd name="connsiteY30" fmla="*/ 153809 h 335277"/>
                <a:gd name="connsiteX31" fmla="*/ 184070 w 203963"/>
                <a:gd name="connsiteY31" fmla="*/ 175756 h 335277"/>
                <a:gd name="connsiteX32" fmla="*/ 171978 w 203963"/>
                <a:gd name="connsiteY32" fmla="*/ 167753 h 335277"/>
                <a:gd name="connsiteX33" fmla="*/ 150114 w 203963"/>
                <a:gd name="connsiteY33" fmla="*/ 138349 h 335277"/>
                <a:gd name="connsiteX34" fmla="*/ 142701 w 203963"/>
                <a:gd name="connsiteY34" fmla="*/ 121760 h 335277"/>
                <a:gd name="connsiteX35" fmla="*/ 128595 w 203963"/>
                <a:gd name="connsiteY35" fmla="*/ 111086 h 335277"/>
                <a:gd name="connsiteX36" fmla="*/ 114657 w 203963"/>
                <a:gd name="connsiteY36" fmla="*/ 110991 h 335277"/>
                <a:gd name="connsiteX37" fmla="*/ 136269 w 203963"/>
                <a:gd name="connsiteY37" fmla="*/ 79195 h 335277"/>
                <a:gd name="connsiteX38" fmla="*/ 101978 w 203963"/>
                <a:gd name="connsiteY38" fmla="*/ 44904 h 335277"/>
                <a:gd name="connsiteX39" fmla="*/ 67687 w 203963"/>
                <a:gd name="connsiteY39" fmla="*/ 79195 h 335277"/>
                <a:gd name="connsiteX40" fmla="*/ 89309 w 203963"/>
                <a:gd name="connsiteY40" fmla="*/ 110993 h 335277"/>
                <a:gd name="connsiteX41" fmla="*/ 76044 w 203963"/>
                <a:gd name="connsiteY41" fmla="*/ 111040 h 335277"/>
                <a:gd name="connsiteX42" fmla="*/ 61180 w 203963"/>
                <a:gd name="connsiteY42" fmla="*/ 121909 h 335277"/>
                <a:gd name="connsiteX43" fmla="*/ 47097 w 203963"/>
                <a:gd name="connsiteY43" fmla="*/ 149781 h 335277"/>
                <a:gd name="connsiteX44" fmla="*/ 31373 w 203963"/>
                <a:gd name="connsiteY44" fmla="*/ 168250 h 335277"/>
                <a:gd name="connsiteX45" fmla="*/ 19959 w 203963"/>
                <a:gd name="connsiteY45" fmla="*/ 175676 h 335277"/>
                <a:gd name="connsiteX46" fmla="*/ 20164 w 203963"/>
                <a:gd name="connsiteY46" fmla="*/ 153809 h 335277"/>
                <a:gd name="connsiteX47" fmla="*/ 34842 w 203963"/>
                <a:gd name="connsiteY47" fmla="*/ 61885 h 335277"/>
                <a:gd name="connsiteX48" fmla="*/ 101978 w 203963"/>
                <a:gd name="connsiteY48" fmla="*/ 102054 h 335277"/>
                <a:gd name="connsiteX49" fmla="*/ 79119 w 203963"/>
                <a:gd name="connsiteY49" fmla="*/ 79195 h 335277"/>
                <a:gd name="connsiteX50" fmla="*/ 101978 w 203963"/>
                <a:gd name="connsiteY50" fmla="*/ 56336 h 335277"/>
                <a:gd name="connsiteX51" fmla="*/ 124837 w 203963"/>
                <a:gd name="connsiteY51" fmla="*/ 79195 h 335277"/>
                <a:gd name="connsiteX52" fmla="*/ 101978 w 203963"/>
                <a:gd name="connsiteY52" fmla="*/ 102054 h 335277"/>
                <a:gd name="connsiteX53" fmla="*/ 187103 w 203963"/>
                <a:gd name="connsiteY53" fmla="*/ 198169 h 335277"/>
                <a:gd name="connsiteX54" fmla="*/ 158504 w 203963"/>
                <a:gd name="connsiteY54" fmla="*/ 182942 h 335277"/>
                <a:gd name="connsiteX55" fmla="*/ 141036 w 203963"/>
                <a:gd name="connsiteY55" fmla="*/ 162702 h 335277"/>
                <a:gd name="connsiteX56" fmla="*/ 134632 w 203963"/>
                <a:gd name="connsiteY56" fmla="*/ 160460 h 335277"/>
                <a:gd name="connsiteX57" fmla="*/ 130599 w 203963"/>
                <a:gd name="connsiteY57" fmla="*/ 165920 h 335277"/>
                <a:gd name="connsiteX58" fmla="*/ 130599 w 203963"/>
                <a:gd name="connsiteY58" fmla="*/ 313884 h 335277"/>
                <a:gd name="connsiteX59" fmla="*/ 120609 w 203963"/>
                <a:gd name="connsiteY59" fmla="*/ 323854 h 335277"/>
                <a:gd name="connsiteX60" fmla="*/ 107675 w 203963"/>
                <a:gd name="connsiteY60" fmla="*/ 313884 h 335277"/>
                <a:gd name="connsiteX61" fmla="*/ 107675 w 203963"/>
                <a:gd name="connsiteY61" fmla="*/ 222996 h 335277"/>
                <a:gd name="connsiteX62" fmla="*/ 101959 w 203963"/>
                <a:gd name="connsiteY62" fmla="*/ 217285 h 335277"/>
                <a:gd name="connsiteX63" fmla="*/ 96243 w 203963"/>
                <a:gd name="connsiteY63" fmla="*/ 222996 h 335277"/>
                <a:gd name="connsiteX64" fmla="*/ 96243 w 203963"/>
                <a:gd name="connsiteY64" fmla="*/ 313884 h 335277"/>
                <a:gd name="connsiteX65" fmla="*/ 83309 w 203963"/>
                <a:gd name="connsiteY65" fmla="*/ 323854 h 335277"/>
                <a:gd name="connsiteX66" fmla="*/ 73329 w 203963"/>
                <a:gd name="connsiteY66" fmla="*/ 313884 h 335277"/>
                <a:gd name="connsiteX67" fmla="*/ 73329 w 203963"/>
                <a:gd name="connsiteY67" fmla="*/ 165920 h 335277"/>
                <a:gd name="connsiteX68" fmla="*/ 69296 w 203963"/>
                <a:gd name="connsiteY68" fmla="*/ 160460 h 335277"/>
                <a:gd name="connsiteX69" fmla="*/ 62887 w 203963"/>
                <a:gd name="connsiteY69" fmla="*/ 162702 h 335277"/>
                <a:gd name="connsiteX70" fmla="*/ 45409 w 203963"/>
                <a:gd name="connsiteY70" fmla="*/ 182942 h 335277"/>
                <a:gd name="connsiteX71" fmla="*/ 16848 w 203963"/>
                <a:gd name="connsiteY71" fmla="*/ 198160 h 335277"/>
                <a:gd name="connsiteX72" fmla="*/ 11532 w 203963"/>
                <a:gd name="connsiteY72" fmla="*/ 194765 h 335277"/>
                <a:gd name="connsiteX73" fmla="*/ 13151 w 203963"/>
                <a:gd name="connsiteY73" fmla="*/ 190346 h 335277"/>
                <a:gd name="connsiteX74" fmla="*/ 16950 w 203963"/>
                <a:gd name="connsiteY74" fmla="*/ 188989 h 335277"/>
                <a:gd name="connsiteX75" fmla="*/ 38838 w 203963"/>
                <a:gd name="connsiteY75" fmla="*/ 176905 h 335277"/>
                <a:gd name="connsiteX76" fmla="*/ 56646 w 203963"/>
                <a:gd name="connsiteY76" fmla="*/ 156070 h 335277"/>
                <a:gd name="connsiteX77" fmla="*/ 72059 w 203963"/>
                <a:gd name="connsiteY77" fmla="*/ 125457 h 335277"/>
                <a:gd name="connsiteX78" fmla="*/ 76319 w 203963"/>
                <a:gd name="connsiteY78" fmla="*/ 122467 h 335277"/>
                <a:gd name="connsiteX79" fmla="*/ 127720 w 203963"/>
                <a:gd name="connsiteY79" fmla="*/ 122462 h 335277"/>
                <a:gd name="connsiteX80" fmla="*/ 131692 w 203963"/>
                <a:gd name="connsiteY80" fmla="*/ 124736 h 335277"/>
                <a:gd name="connsiteX81" fmla="*/ 132004 w 203963"/>
                <a:gd name="connsiteY81" fmla="*/ 125834 h 335277"/>
                <a:gd name="connsiteX82" fmla="*/ 139989 w 203963"/>
                <a:gd name="connsiteY82" fmla="*/ 143657 h 335277"/>
                <a:gd name="connsiteX83" fmla="*/ 164415 w 203963"/>
                <a:gd name="connsiteY83" fmla="*/ 176320 h 335277"/>
                <a:gd name="connsiteX84" fmla="*/ 186750 w 203963"/>
                <a:gd name="connsiteY84" fmla="*/ 188923 h 335277"/>
                <a:gd name="connsiteX85" fmla="*/ 190786 w 203963"/>
                <a:gd name="connsiteY85" fmla="*/ 190356 h 335277"/>
                <a:gd name="connsiteX86" fmla="*/ 192395 w 203963"/>
                <a:gd name="connsiteY86" fmla="*/ 194765 h 335277"/>
                <a:gd name="connsiteX87" fmla="*/ 187103 w 203963"/>
                <a:gd name="connsiteY87" fmla="*/ 198169 h 335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203963" h="335277">
                  <a:moveTo>
                    <a:pt x="196451" y="180384"/>
                  </a:moveTo>
                  <a:cubicBezTo>
                    <a:pt x="196153" y="180193"/>
                    <a:pt x="195830" y="180053"/>
                    <a:pt x="195502" y="179925"/>
                  </a:cubicBezTo>
                  <a:lnTo>
                    <a:pt x="195502" y="153809"/>
                  </a:lnTo>
                  <a:cubicBezTo>
                    <a:pt x="195502" y="135540"/>
                    <a:pt x="194172" y="108301"/>
                    <a:pt x="187847" y="82307"/>
                  </a:cubicBezTo>
                  <a:cubicBezTo>
                    <a:pt x="180638" y="52592"/>
                    <a:pt x="168503" y="30575"/>
                    <a:pt x="151789" y="16869"/>
                  </a:cubicBezTo>
                  <a:cubicBezTo>
                    <a:pt x="138171" y="5702"/>
                    <a:pt x="121460" y="28"/>
                    <a:pt x="102108" y="0"/>
                  </a:cubicBezTo>
                  <a:cubicBezTo>
                    <a:pt x="82770" y="28"/>
                    <a:pt x="66064" y="5702"/>
                    <a:pt x="52455" y="16869"/>
                  </a:cubicBezTo>
                  <a:cubicBezTo>
                    <a:pt x="40827" y="26422"/>
                    <a:pt x="31336" y="40118"/>
                    <a:pt x="24252" y="57583"/>
                  </a:cubicBezTo>
                  <a:cubicBezTo>
                    <a:pt x="11407" y="89194"/>
                    <a:pt x="8723" y="127359"/>
                    <a:pt x="8732" y="153753"/>
                  </a:cubicBezTo>
                  <a:lnTo>
                    <a:pt x="8486" y="179897"/>
                  </a:lnTo>
                  <a:cubicBezTo>
                    <a:pt x="8161" y="180020"/>
                    <a:pt x="7840" y="180162"/>
                    <a:pt x="7541" y="180347"/>
                  </a:cubicBezTo>
                  <a:cubicBezTo>
                    <a:pt x="1802" y="183891"/>
                    <a:pt x="-1077" y="190672"/>
                    <a:pt x="370" y="197220"/>
                  </a:cubicBezTo>
                  <a:cubicBezTo>
                    <a:pt x="2188" y="205537"/>
                    <a:pt x="10323" y="211275"/>
                    <a:pt x="19280" y="209331"/>
                  </a:cubicBezTo>
                  <a:cubicBezTo>
                    <a:pt x="31262" y="206699"/>
                    <a:pt x="42605" y="200699"/>
                    <a:pt x="52995" y="191491"/>
                  </a:cubicBezTo>
                  <a:cubicBezTo>
                    <a:pt x="56046" y="188784"/>
                    <a:pt x="59022" y="185798"/>
                    <a:pt x="61897" y="182570"/>
                  </a:cubicBezTo>
                  <a:lnTo>
                    <a:pt x="61897" y="313884"/>
                  </a:lnTo>
                  <a:cubicBezTo>
                    <a:pt x="61897" y="325677"/>
                    <a:pt x="71501" y="335278"/>
                    <a:pt x="83309" y="335278"/>
                  </a:cubicBezTo>
                  <a:cubicBezTo>
                    <a:pt x="89997" y="335278"/>
                    <a:pt x="97145" y="332189"/>
                    <a:pt x="101959" y="327184"/>
                  </a:cubicBezTo>
                  <a:cubicBezTo>
                    <a:pt x="106773" y="332189"/>
                    <a:pt x="113921" y="335278"/>
                    <a:pt x="120609" y="335278"/>
                  </a:cubicBezTo>
                  <a:cubicBezTo>
                    <a:pt x="132423" y="335278"/>
                    <a:pt x="142031" y="325677"/>
                    <a:pt x="142031" y="313884"/>
                  </a:cubicBezTo>
                  <a:lnTo>
                    <a:pt x="142031" y="182579"/>
                  </a:lnTo>
                  <a:cubicBezTo>
                    <a:pt x="144920" y="185835"/>
                    <a:pt x="147891" y="188812"/>
                    <a:pt x="150933" y="191500"/>
                  </a:cubicBezTo>
                  <a:cubicBezTo>
                    <a:pt x="161327" y="200708"/>
                    <a:pt x="172675" y="206708"/>
                    <a:pt x="184675" y="209341"/>
                  </a:cubicBezTo>
                  <a:cubicBezTo>
                    <a:pt x="192869" y="211034"/>
                    <a:pt x="201697" y="205611"/>
                    <a:pt x="203562" y="197220"/>
                  </a:cubicBezTo>
                  <a:cubicBezTo>
                    <a:pt x="205041" y="190440"/>
                    <a:pt x="202381" y="184143"/>
                    <a:pt x="196451" y="180384"/>
                  </a:cubicBezTo>
                  <a:close/>
                  <a:moveTo>
                    <a:pt x="34842" y="61885"/>
                  </a:moveTo>
                  <a:cubicBezTo>
                    <a:pt x="41205" y="46202"/>
                    <a:pt x="49571" y="34030"/>
                    <a:pt x="59706" y="25705"/>
                  </a:cubicBezTo>
                  <a:cubicBezTo>
                    <a:pt x="71385" y="16125"/>
                    <a:pt x="85258" y="11455"/>
                    <a:pt x="102108" y="11432"/>
                  </a:cubicBezTo>
                  <a:cubicBezTo>
                    <a:pt x="118976" y="11455"/>
                    <a:pt x="132855" y="16125"/>
                    <a:pt x="144542" y="25705"/>
                  </a:cubicBezTo>
                  <a:cubicBezTo>
                    <a:pt x="159295" y="37802"/>
                    <a:pt x="170127" y="57755"/>
                    <a:pt x="176741" y="85009"/>
                  </a:cubicBezTo>
                  <a:cubicBezTo>
                    <a:pt x="182800" y="109905"/>
                    <a:pt x="184070" y="136164"/>
                    <a:pt x="184070" y="153809"/>
                  </a:cubicBezTo>
                  <a:lnTo>
                    <a:pt x="184070" y="175756"/>
                  </a:lnTo>
                  <a:cubicBezTo>
                    <a:pt x="179976" y="173876"/>
                    <a:pt x="175926" y="171246"/>
                    <a:pt x="171978" y="167753"/>
                  </a:cubicBezTo>
                  <a:cubicBezTo>
                    <a:pt x="161504" y="158525"/>
                    <a:pt x="153788" y="145377"/>
                    <a:pt x="150114" y="138349"/>
                  </a:cubicBezTo>
                  <a:cubicBezTo>
                    <a:pt x="147733" y="133829"/>
                    <a:pt x="143045" y="122662"/>
                    <a:pt x="142701" y="121760"/>
                  </a:cubicBezTo>
                  <a:cubicBezTo>
                    <a:pt x="140533" y="115435"/>
                    <a:pt x="134571" y="111124"/>
                    <a:pt x="128595" y="111086"/>
                  </a:cubicBezTo>
                  <a:cubicBezTo>
                    <a:pt x="128132" y="111024"/>
                    <a:pt x="122279" y="110996"/>
                    <a:pt x="114657" y="110991"/>
                  </a:cubicBezTo>
                  <a:cubicBezTo>
                    <a:pt x="127293" y="105931"/>
                    <a:pt x="136269" y="93615"/>
                    <a:pt x="136269" y="79195"/>
                  </a:cubicBezTo>
                  <a:cubicBezTo>
                    <a:pt x="136269" y="60289"/>
                    <a:pt x="120883" y="44904"/>
                    <a:pt x="101978" y="44904"/>
                  </a:cubicBezTo>
                  <a:cubicBezTo>
                    <a:pt x="83072" y="44904"/>
                    <a:pt x="67687" y="60289"/>
                    <a:pt x="67687" y="79195"/>
                  </a:cubicBezTo>
                  <a:cubicBezTo>
                    <a:pt x="67687" y="93619"/>
                    <a:pt x="76667" y="105937"/>
                    <a:pt x="89309" y="110993"/>
                  </a:cubicBezTo>
                  <a:cubicBezTo>
                    <a:pt x="81619" y="110999"/>
                    <a:pt x="75861" y="111011"/>
                    <a:pt x="76044" y="111040"/>
                  </a:cubicBezTo>
                  <a:cubicBezTo>
                    <a:pt x="69320" y="111132"/>
                    <a:pt x="63362" y="115458"/>
                    <a:pt x="61180" y="121909"/>
                  </a:cubicBezTo>
                  <a:cubicBezTo>
                    <a:pt x="61139" y="122039"/>
                    <a:pt x="56302" y="135838"/>
                    <a:pt x="47097" y="149781"/>
                  </a:cubicBezTo>
                  <a:cubicBezTo>
                    <a:pt x="42232" y="157181"/>
                    <a:pt x="36791" y="163571"/>
                    <a:pt x="31373" y="168250"/>
                  </a:cubicBezTo>
                  <a:cubicBezTo>
                    <a:pt x="27678" y="171431"/>
                    <a:pt x="23889" y="173855"/>
                    <a:pt x="19959" y="175676"/>
                  </a:cubicBezTo>
                  <a:lnTo>
                    <a:pt x="20164" y="153809"/>
                  </a:lnTo>
                  <a:cubicBezTo>
                    <a:pt x="20154" y="128374"/>
                    <a:pt x="22694" y="91785"/>
                    <a:pt x="34842" y="61885"/>
                  </a:cubicBezTo>
                  <a:close/>
                  <a:moveTo>
                    <a:pt x="101978" y="102054"/>
                  </a:moveTo>
                  <a:cubicBezTo>
                    <a:pt x="89374" y="102054"/>
                    <a:pt x="79119" y="91799"/>
                    <a:pt x="79119" y="79195"/>
                  </a:cubicBezTo>
                  <a:cubicBezTo>
                    <a:pt x="79119" y="66591"/>
                    <a:pt x="89374" y="56336"/>
                    <a:pt x="101978" y="56336"/>
                  </a:cubicBezTo>
                  <a:cubicBezTo>
                    <a:pt x="114581" y="56336"/>
                    <a:pt x="124837" y="66591"/>
                    <a:pt x="124837" y="79195"/>
                  </a:cubicBezTo>
                  <a:cubicBezTo>
                    <a:pt x="124837" y="91799"/>
                    <a:pt x="114581" y="102054"/>
                    <a:pt x="101978" y="102054"/>
                  </a:cubicBezTo>
                  <a:close/>
                  <a:moveTo>
                    <a:pt x="187103" y="198169"/>
                  </a:moveTo>
                  <a:cubicBezTo>
                    <a:pt x="177052" y="195965"/>
                    <a:pt x="167429" y="190840"/>
                    <a:pt x="158504" y="182942"/>
                  </a:cubicBezTo>
                  <a:cubicBezTo>
                    <a:pt x="152370" y="177510"/>
                    <a:pt x="146491" y="170701"/>
                    <a:pt x="141036" y="162702"/>
                  </a:cubicBezTo>
                  <a:cubicBezTo>
                    <a:pt x="139622" y="160632"/>
                    <a:pt x="136999" y="159716"/>
                    <a:pt x="134632" y="160460"/>
                  </a:cubicBezTo>
                  <a:cubicBezTo>
                    <a:pt x="132236" y="161200"/>
                    <a:pt x="130599" y="163413"/>
                    <a:pt x="130599" y="165920"/>
                  </a:cubicBezTo>
                  <a:lnTo>
                    <a:pt x="130599" y="313884"/>
                  </a:lnTo>
                  <a:cubicBezTo>
                    <a:pt x="130599" y="319380"/>
                    <a:pt x="126120" y="323854"/>
                    <a:pt x="120609" y="323854"/>
                  </a:cubicBezTo>
                  <a:cubicBezTo>
                    <a:pt x="114907" y="323854"/>
                    <a:pt x="107675" y="319158"/>
                    <a:pt x="107675" y="313884"/>
                  </a:cubicBezTo>
                  <a:lnTo>
                    <a:pt x="107675" y="222996"/>
                  </a:lnTo>
                  <a:cubicBezTo>
                    <a:pt x="107675" y="219842"/>
                    <a:pt x="105117" y="217285"/>
                    <a:pt x="101959" y="217285"/>
                  </a:cubicBezTo>
                  <a:cubicBezTo>
                    <a:pt x="98801" y="217285"/>
                    <a:pt x="96243" y="219842"/>
                    <a:pt x="96243" y="222996"/>
                  </a:cubicBezTo>
                  <a:lnTo>
                    <a:pt x="96243" y="313884"/>
                  </a:lnTo>
                  <a:cubicBezTo>
                    <a:pt x="96243" y="319158"/>
                    <a:pt x="89011" y="323854"/>
                    <a:pt x="83309" y="323854"/>
                  </a:cubicBezTo>
                  <a:cubicBezTo>
                    <a:pt x="77807" y="323854"/>
                    <a:pt x="73329" y="319380"/>
                    <a:pt x="73329" y="313884"/>
                  </a:cubicBezTo>
                  <a:lnTo>
                    <a:pt x="73329" y="165920"/>
                  </a:lnTo>
                  <a:cubicBezTo>
                    <a:pt x="73329" y="163413"/>
                    <a:pt x="71691" y="161200"/>
                    <a:pt x="69296" y="160460"/>
                  </a:cubicBezTo>
                  <a:cubicBezTo>
                    <a:pt x="66900" y="159711"/>
                    <a:pt x="64306" y="160622"/>
                    <a:pt x="62887" y="162702"/>
                  </a:cubicBezTo>
                  <a:cubicBezTo>
                    <a:pt x="57501" y="170617"/>
                    <a:pt x="51618" y="177426"/>
                    <a:pt x="45409" y="182942"/>
                  </a:cubicBezTo>
                  <a:cubicBezTo>
                    <a:pt x="36502" y="190840"/>
                    <a:pt x="26885" y="195955"/>
                    <a:pt x="16848" y="198160"/>
                  </a:cubicBezTo>
                  <a:cubicBezTo>
                    <a:pt x="14090" y="198764"/>
                    <a:pt x="12039" y="197099"/>
                    <a:pt x="11532" y="194765"/>
                  </a:cubicBezTo>
                  <a:cubicBezTo>
                    <a:pt x="11165" y="193109"/>
                    <a:pt x="11811" y="191388"/>
                    <a:pt x="13151" y="190346"/>
                  </a:cubicBezTo>
                  <a:lnTo>
                    <a:pt x="16950" y="188989"/>
                  </a:lnTo>
                  <a:cubicBezTo>
                    <a:pt x="24494" y="186979"/>
                    <a:pt x="31857" y="182915"/>
                    <a:pt x="38838" y="176905"/>
                  </a:cubicBezTo>
                  <a:cubicBezTo>
                    <a:pt x="45139" y="171464"/>
                    <a:pt x="51134" y="164451"/>
                    <a:pt x="56646" y="156070"/>
                  </a:cubicBezTo>
                  <a:cubicBezTo>
                    <a:pt x="66798" y="140685"/>
                    <a:pt x="71989" y="125634"/>
                    <a:pt x="72059" y="125457"/>
                  </a:cubicBezTo>
                  <a:cubicBezTo>
                    <a:pt x="72650" y="123695"/>
                    <a:pt x="74315" y="122495"/>
                    <a:pt x="76319" y="122467"/>
                  </a:cubicBezTo>
                  <a:cubicBezTo>
                    <a:pt x="78328" y="122406"/>
                    <a:pt x="125744" y="122401"/>
                    <a:pt x="127720" y="122462"/>
                  </a:cubicBezTo>
                  <a:cubicBezTo>
                    <a:pt x="129604" y="122485"/>
                    <a:pt x="131283" y="123695"/>
                    <a:pt x="131692" y="124736"/>
                  </a:cubicBezTo>
                  <a:cubicBezTo>
                    <a:pt x="131748" y="125025"/>
                    <a:pt x="131902" y="125560"/>
                    <a:pt x="132004" y="125834"/>
                  </a:cubicBezTo>
                  <a:cubicBezTo>
                    <a:pt x="132139" y="126211"/>
                    <a:pt x="137218" y="138383"/>
                    <a:pt x="139989" y="143657"/>
                  </a:cubicBezTo>
                  <a:cubicBezTo>
                    <a:pt x="144026" y="151377"/>
                    <a:pt x="152565" y="165878"/>
                    <a:pt x="164415" y="176320"/>
                  </a:cubicBezTo>
                  <a:cubicBezTo>
                    <a:pt x="171494" y="182589"/>
                    <a:pt x="179010" y="186831"/>
                    <a:pt x="186750" y="188923"/>
                  </a:cubicBezTo>
                  <a:lnTo>
                    <a:pt x="190786" y="190356"/>
                  </a:lnTo>
                  <a:cubicBezTo>
                    <a:pt x="192293" y="191482"/>
                    <a:pt x="192805" y="192905"/>
                    <a:pt x="192395" y="194765"/>
                  </a:cubicBezTo>
                  <a:cubicBezTo>
                    <a:pt x="191865" y="197156"/>
                    <a:pt x="189386" y="198681"/>
                    <a:pt x="187103" y="198169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308BBD8-74BC-4FCA-86A9-CB345FF0D1E4}"/>
                </a:ext>
              </a:extLst>
            </p:cNvPr>
            <p:cNvSpPr txBox="1"/>
            <p:nvPr/>
          </p:nvSpPr>
          <p:spPr>
            <a:xfrm>
              <a:off x="6641797" y="1849980"/>
              <a:ext cx="1831721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Mental Health Coaching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6964236-D3F7-49C3-855B-5A7438D62024}"/>
                </a:ext>
              </a:extLst>
            </p:cNvPr>
            <p:cNvSpPr txBox="1"/>
            <p:nvPr/>
          </p:nvSpPr>
          <p:spPr>
            <a:xfrm>
              <a:off x="6596239" y="3157513"/>
              <a:ext cx="1897999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Physical Health Coaching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42E89F5-6DDA-4B49-989B-0F47B785AA97}"/>
                </a:ext>
              </a:extLst>
            </p:cNvPr>
            <p:cNvSpPr txBox="1"/>
            <p:nvPr/>
          </p:nvSpPr>
          <p:spPr>
            <a:xfrm>
              <a:off x="7221454" y="4548692"/>
              <a:ext cx="1272784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Exercise Coaching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11F1C26-02A2-4DAD-818A-A440B76F6EB4}"/>
                </a:ext>
              </a:extLst>
            </p:cNvPr>
            <p:cNvSpPr txBox="1"/>
            <p:nvPr/>
          </p:nvSpPr>
          <p:spPr>
            <a:xfrm>
              <a:off x="6446631" y="5756525"/>
              <a:ext cx="2047607" cy="1615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Pluto Sans Medium" panose="02000000000000000000" pitchFamily="50" charset="0"/>
                  <a:ea typeface="+mn-ea"/>
                  <a:cs typeface="+mn-cs"/>
                </a:rPr>
                <a:t>Emotional support stories</a:t>
              </a:r>
            </a:p>
          </p:txBody>
        </p:sp>
        <p:grpSp>
          <p:nvGrpSpPr>
            <p:cNvPr id="57" name="Graphic 175">
              <a:extLst>
                <a:ext uri="{FF2B5EF4-FFF2-40B4-BE49-F238E27FC236}">
                  <a16:creationId xmlns:a16="http://schemas.microsoft.com/office/drawing/2014/main" id="{C2E8051A-FEC1-4617-B376-39B59860ABF3}"/>
                </a:ext>
              </a:extLst>
            </p:cNvPr>
            <p:cNvGrpSpPr/>
            <p:nvPr/>
          </p:nvGrpSpPr>
          <p:grpSpPr>
            <a:xfrm>
              <a:off x="2587677" y="2946056"/>
              <a:ext cx="735085" cy="732030"/>
              <a:chOff x="6951003" y="3695217"/>
              <a:chExt cx="317542" cy="316222"/>
            </a:xfrm>
            <a:solidFill>
              <a:schemeClr val="bg1"/>
            </a:solidFill>
          </p:grpSpPr>
          <p:sp>
            <p:nvSpPr>
              <p:cNvPr id="58" name="Freeform: Shape 583">
                <a:extLst>
                  <a:ext uri="{FF2B5EF4-FFF2-40B4-BE49-F238E27FC236}">
                    <a16:creationId xmlns:a16="http://schemas.microsoft.com/office/drawing/2014/main" id="{E9FDB7A0-5EC4-48B5-A7C0-84E0B45A71D5}"/>
                  </a:ext>
                </a:extLst>
              </p:cNvPr>
              <p:cNvSpPr/>
              <p:nvPr/>
            </p:nvSpPr>
            <p:spPr>
              <a:xfrm>
                <a:off x="6951003" y="3882304"/>
                <a:ext cx="140149" cy="76460"/>
              </a:xfrm>
              <a:custGeom>
                <a:avLst/>
                <a:gdLst>
                  <a:gd name="connsiteX0" fmla="*/ 134433 w 140149"/>
                  <a:gd name="connsiteY0" fmla="*/ 65038 h 76460"/>
                  <a:gd name="connsiteX1" fmla="*/ 11702 w 140149"/>
                  <a:gd name="connsiteY1" fmla="*/ 65038 h 76460"/>
                  <a:gd name="connsiteX2" fmla="*/ 70680 w 140149"/>
                  <a:gd name="connsiteY2" fmla="*/ 11422 h 76460"/>
                  <a:gd name="connsiteX3" fmla="*/ 103185 w 140149"/>
                  <a:gd name="connsiteY3" fmla="*/ 11422 h 76460"/>
                  <a:gd name="connsiteX4" fmla="*/ 108901 w 140149"/>
                  <a:gd name="connsiteY4" fmla="*/ 5711 h 76460"/>
                  <a:gd name="connsiteX5" fmla="*/ 103185 w 140149"/>
                  <a:gd name="connsiteY5" fmla="*/ 0 h 76460"/>
                  <a:gd name="connsiteX6" fmla="*/ 70680 w 140149"/>
                  <a:gd name="connsiteY6" fmla="*/ 0 h 76460"/>
                  <a:gd name="connsiteX7" fmla="*/ 0 w 140149"/>
                  <a:gd name="connsiteY7" fmla="*/ 70749 h 76460"/>
                  <a:gd name="connsiteX8" fmla="*/ 5716 w 140149"/>
                  <a:gd name="connsiteY8" fmla="*/ 76460 h 76460"/>
                  <a:gd name="connsiteX9" fmla="*/ 134433 w 140149"/>
                  <a:gd name="connsiteY9" fmla="*/ 76460 h 76460"/>
                  <a:gd name="connsiteX10" fmla="*/ 140149 w 140149"/>
                  <a:gd name="connsiteY10" fmla="*/ 70749 h 76460"/>
                  <a:gd name="connsiteX11" fmla="*/ 134433 w 140149"/>
                  <a:gd name="connsiteY11" fmla="*/ 65038 h 76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0149" h="76460">
                    <a:moveTo>
                      <a:pt x="134433" y="65038"/>
                    </a:moveTo>
                    <a:lnTo>
                      <a:pt x="11702" y="65038"/>
                    </a:lnTo>
                    <a:cubicBezTo>
                      <a:pt x="14585" y="34993"/>
                      <a:pt x="39933" y="11422"/>
                      <a:pt x="70680" y="11422"/>
                    </a:cubicBezTo>
                    <a:lnTo>
                      <a:pt x="103185" y="11422"/>
                    </a:lnTo>
                    <a:cubicBezTo>
                      <a:pt x="106342" y="11422"/>
                      <a:pt x="108901" y="8865"/>
                      <a:pt x="108901" y="5711"/>
                    </a:cubicBezTo>
                    <a:cubicBezTo>
                      <a:pt x="108901" y="2557"/>
                      <a:pt x="106342" y="0"/>
                      <a:pt x="103185" y="0"/>
                    </a:cubicBezTo>
                    <a:lnTo>
                      <a:pt x="70680" y="0"/>
                    </a:lnTo>
                    <a:cubicBezTo>
                      <a:pt x="31705" y="0"/>
                      <a:pt x="0" y="31737"/>
                      <a:pt x="0" y="70749"/>
                    </a:cubicBezTo>
                    <a:cubicBezTo>
                      <a:pt x="0" y="73903"/>
                      <a:pt x="2558" y="76460"/>
                      <a:pt x="5716" y="76460"/>
                    </a:cubicBezTo>
                    <a:lnTo>
                      <a:pt x="134433" y="76460"/>
                    </a:lnTo>
                    <a:cubicBezTo>
                      <a:pt x="137592" y="76460"/>
                      <a:pt x="140149" y="73903"/>
                      <a:pt x="140149" y="70749"/>
                    </a:cubicBezTo>
                    <a:cubicBezTo>
                      <a:pt x="140149" y="67596"/>
                      <a:pt x="137592" y="65038"/>
                      <a:pt x="134433" y="6503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4">
                <a:extLst>
                  <a:ext uri="{FF2B5EF4-FFF2-40B4-BE49-F238E27FC236}">
                    <a16:creationId xmlns:a16="http://schemas.microsoft.com/office/drawing/2014/main" id="{0E75BB19-E452-429F-8944-207551CD77F8}"/>
                  </a:ext>
                </a:extLst>
              </p:cNvPr>
              <p:cNvSpPr/>
              <p:nvPr/>
            </p:nvSpPr>
            <p:spPr>
              <a:xfrm>
                <a:off x="7041713" y="3716529"/>
                <a:ext cx="44495" cy="49307"/>
              </a:xfrm>
              <a:custGeom>
                <a:avLst/>
                <a:gdLst>
                  <a:gd name="connsiteX0" fmla="*/ 11279 w 44495"/>
                  <a:gd name="connsiteY0" fmla="*/ 44907 h 49307"/>
                  <a:gd name="connsiteX1" fmla="*/ 40854 w 44495"/>
                  <a:gd name="connsiteY1" fmla="*/ 11039 h 49307"/>
                  <a:gd name="connsiteX2" fmla="*/ 44105 w 44495"/>
                  <a:gd name="connsiteY2" fmla="*/ 3635 h 49307"/>
                  <a:gd name="connsiteX3" fmla="*/ 36705 w 44495"/>
                  <a:gd name="connsiteY3" fmla="*/ 379 h 49307"/>
                  <a:gd name="connsiteX4" fmla="*/ 149 w 44495"/>
                  <a:gd name="connsiteY4" fmla="*/ 42303 h 49307"/>
                  <a:gd name="connsiteX5" fmla="*/ 4409 w 44495"/>
                  <a:gd name="connsiteY5" fmla="*/ 49149 h 49307"/>
                  <a:gd name="connsiteX6" fmla="*/ 5721 w 44495"/>
                  <a:gd name="connsiteY6" fmla="*/ 49307 h 49307"/>
                  <a:gd name="connsiteX7" fmla="*/ 11279 w 44495"/>
                  <a:gd name="connsiteY7" fmla="*/ 44907 h 49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4495" h="49307">
                    <a:moveTo>
                      <a:pt x="11279" y="44907"/>
                    </a:moveTo>
                    <a:cubicBezTo>
                      <a:pt x="11339" y="44656"/>
                      <a:pt x="17432" y="20155"/>
                      <a:pt x="40854" y="11039"/>
                    </a:cubicBezTo>
                    <a:cubicBezTo>
                      <a:pt x="43792" y="9886"/>
                      <a:pt x="45249" y="6575"/>
                      <a:pt x="44105" y="3635"/>
                    </a:cubicBezTo>
                    <a:cubicBezTo>
                      <a:pt x="42956" y="686"/>
                      <a:pt x="39654" y="-737"/>
                      <a:pt x="36705" y="379"/>
                    </a:cubicBezTo>
                    <a:cubicBezTo>
                      <a:pt x="7549" y="11737"/>
                      <a:pt x="438" y="41065"/>
                      <a:pt x="149" y="42303"/>
                    </a:cubicBezTo>
                    <a:cubicBezTo>
                      <a:pt x="-563" y="45372"/>
                      <a:pt x="1344" y="48433"/>
                      <a:pt x="4409" y="49149"/>
                    </a:cubicBezTo>
                    <a:cubicBezTo>
                      <a:pt x="4847" y="49251"/>
                      <a:pt x="5289" y="49307"/>
                      <a:pt x="5721" y="49307"/>
                    </a:cubicBezTo>
                    <a:cubicBezTo>
                      <a:pt x="8307" y="49307"/>
                      <a:pt x="10651" y="47530"/>
                      <a:pt x="11279" y="4490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85">
                <a:extLst>
                  <a:ext uri="{FF2B5EF4-FFF2-40B4-BE49-F238E27FC236}">
                    <a16:creationId xmlns:a16="http://schemas.microsoft.com/office/drawing/2014/main" id="{14FBEA5B-341B-43DE-A347-7020AA1EF89B}"/>
                  </a:ext>
                </a:extLst>
              </p:cNvPr>
              <p:cNvSpPr/>
              <p:nvPr/>
            </p:nvSpPr>
            <p:spPr>
              <a:xfrm>
                <a:off x="7017175" y="3695217"/>
                <a:ext cx="141550" cy="178705"/>
              </a:xfrm>
              <a:custGeom>
                <a:avLst/>
                <a:gdLst>
                  <a:gd name="connsiteX0" fmla="*/ 70773 w 141550"/>
                  <a:gd name="connsiteY0" fmla="*/ 178705 h 178705"/>
                  <a:gd name="connsiteX1" fmla="*/ 141550 w 141550"/>
                  <a:gd name="connsiteY1" fmla="*/ 89344 h 178705"/>
                  <a:gd name="connsiteX2" fmla="*/ 70773 w 141550"/>
                  <a:gd name="connsiteY2" fmla="*/ 0 h 178705"/>
                  <a:gd name="connsiteX3" fmla="*/ 0 w 141550"/>
                  <a:gd name="connsiteY3" fmla="*/ 89344 h 178705"/>
                  <a:gd name="connsiteX4" fmla="*/ 70773 w 141550"/>
                  <a:gd name="connsiteY4" fmla="*/ 178705 h 178705"/>
                  <a:gd name="connsiteX5" fmla="*/ 70773 w 141550"/>
                  <a:gd name="connsiteY5" fmla="*/ 11423 h 178705"/>
                  <a:gd name="connsiteX6" fmla="*/ 130118 w 141550"/>
                  <a:gd name="connsiteY6" fmla="*/ 89344 h 178705"/>
                  <a:gd name="connsiteX7" fmla="*/ 70773 w 141550"/>
                  <a:gd name="connsiteY7" fmla="*/ 167283 h 178705"/>
                  <a:gd name="connsiteX8" fmla="*/ 11432 w 141550"/>
                  <a:gd name="connsiteY8" fmla="*/ 89344 h 178705"/>
                  <a:gd name="connsiteX9" fmla="*/ 70773 w 141550"/>
                  <a:gd name="connsiteY9" fmla="*/ 11423 h 178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1550" h="178705">
                    <a:moveTo>
                      <a:pt x="70773" y="178705"/>
                    </a:moveTo>
                    <a:cubicBezTo>
                      <a:pt x="109798" y="178705"/>
                      <a:pt x="141550" y="138624"/>
                      <a:pt x="141550" y="89344"/>
                    </a:cubicBezTo>
                    <a:cubicBezTo>
                      <a:pt x="141550" y="40081"/>
                      <a:pt x="109798" y="0"/>
                      <a:pt x="70773" y="0"/>
                    </a:cubicBezTo>
                    <a:cubicBezTo>
                      <a:pt x="31747" y="0"/>
                      <a:pt x="0" y="40081"/>
                      <a:pt x="0" y="89344"/>
                    </a:cubicBezTo>
                    <a:cubicBezTo>
                      <a:pt x="10" y="138624"/>
                      <a:pt x="31761" y="178705"/>
                      <a:pt x="70773" y="178705"/>
                    </a:cubicBezTo>
                    <a:close/>
                    <a:moveTo>
                      <a:pt x="70773" y="11423"/>
                    </a:moveTo>
                    <a:cubicBezTo>
                      <a:pt x="103496" y="11423"/>
                      <a:pt x="130118" y="46379"/>
                      <a:pt x="130118" y="89344"/>
                    </a:cubicBezTo>
                    <a:cubicBezTo>
                      <a:pt x="130118" y="132318"/>
                      <a:pt x="103496" y="167283"/>
                      <a:pt x="70773" y="167283"/>
                    </a:cubicBezTo>
                    <a:cubicBezTo>
                      <a:pt x="38058" y="167283"/>
                      <a:pt x="11441" y="132318"/>
                      <a:pt x="11432" y="89344"/>
                    </a:cubicBezTo>
                    <a:cubicBezTo>
                      <a:pt x="11432" y="46379"/>
                      <a:pt x="38053" y="11423"/>
                      <a:pt x="70773" y="1142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586">
                <a:extLst>
                  <a:ext uri="{FF2B5EF4-FFF2-40B4-BE49-F238E27FC236}">
                    <a16:creationId xmlns:a16="http://schemas.microsoft.com/office/drawing/2014/main" id="{8DF1F20A-8B3A-49DE-8DCB-5ECD0695A999}"/>
                  </a:ext>
                </a:extLst>
              </p:cNvPr>
              <p:cNvSpPr/>
              <p:nvPr/>
            </p:nvSpPr>
            <p:spPr>
              <a:xfrm>
                <a:off x="7112314" y="3875150"/>
                <a:ext cx="156231" cy="136289"/>
              </a:xfrm>
              <a:custGeom>
                <a:avLst/>
                <a:gdLst>
                  <a:gd name="connsiteX0" fmla="*/ 150516 w 156231"/>
                  <a:gd name="connsiteY0" fmla="*/ 28547 h 136289"/>
                  <a:gd name="connsiteX1" fmla="*/ 124564 w 156231"/>
                  <a:gd name="connsiteY1" fmla="*/ 28547 h 136289"/>
                  <a:gd name="connsiteX2" fmla="*/ 124564 w 156231"/>
                  <a:gd name="connsiteY2" fmla="*/ 5711 h 136289"/>
                  <a:gd name="connsiteX3" fmla="*/ 118848 w 156231"/>
                  <a:gd name="connsiteY3" fmla="*/ 0 h 136289"/>
                  <a:gd name="connsiteX4" fmla="*/ 37384 w 156231"/>
                  <a:gd name="connsiteY4" fmla="*/ 0 h 136289"/>
                  <a:gd name="connsiteX5" fmla="*/ 31668 w 156231"/>
                  <a:gd name="connsiteY5" fmla="*/ 5711 h 136289"/>
                  <a:gd name="connsiteX6" fmla="*/ 31668 w 156231"/>
                  <a:gd name="connsiteY6" fmla="*/ 28547 h 136289"/>
                  <a:gd name="connsiteX7" fmla="*/ 5716 w 156231"/>
                  <a:gd name="connsiteY7" fmla="*/ 28547 h 136289"/>
                  <a:gd name="connsiteX8" fmla="*/ 0 w 156231"/>
                  <a:gd name="connsiteY8" fmla="*/ 34259 h 136289"/>
                  <a:gd name="connsiteX9" fmla="*/ 0 w 156231"/>
                  <a:gd name="connsiteY9" fmla="*/ 130578 h 136289"/>
                  <a:gd name="connsiteX10" fmla="*/ 5716 w 156231"/>
                  <a:gd name="connsiteY10" fmla="*/ 136289 h 136289"/>
                  <a:gd name="connsiteX11" fmla="*/ 150516 w 156231"/>
                  <a:gd name="connsiteY11" fmla="*/ 136289 h 136289"/>
                  <a:gd name="connsiteX12" fmla="*/ 156232 w 156231"/>
                  <a:gd name="connsiteY12" fmla="*/ 130578 h 136289"/>
                  <a:gd name="connsiteX13" fmla="*/ 156232 w 156231"/>
                  <a:gd name="connsiteY13" fmla="*/ 34259 h 136289"/>
                  <a:gd name="connsiteX14" fmla="*/ 150516 w 156231"/>
                  <a:gd name="connsiteY14" fmla="*/ 28547 h 136289"/>
                  <a:gd name="connsiteX15" fmla="*/ 43100 w 156231"/>
                  <a:gd name="connsiteY15" fmla="*/ 11422 h 136289"/>
                  <a:gd name="connsiteX16" fmla="*/ 113132 w 156231"/>
                  <a:gd name="connsiteY16" fmla="*/ 11422 h 136289"/>
                  <a:gd name="connsiteX17" fmla="*/ 113132 w 156231"/>
                  <a:gd name="connsiteY17" fmla="*/ 28547 h 136289"/>
                  <a:gd name="connsiteX18" fmla="*/ 43100 w 156231"/>
                  <a:gd name="connsiteY18" fmla="*/ 28547 h 136289"/>
                  <a:gd name="connsiteX19" fmla="*/ 43100 w 156231"/>
                  <a:gd name="connsiteY19" fmla="*/ 11422 h 136289"/>
                  <a:gd name="connsiteX20" fmla="*/ 37384 w 156231"/>
                  <a:gd name="connsiteY20" fmla="*/ 39970 h 136289"/>
                  <a:gd name="connsiteX21" fmla="*/ 118848 w 156231"/>
                  <a:gd name="connsiteY21" fmla="*/ 39970 h 136289"/>
                  <a:gd name="connsiteX22" fmla="*/ 144801 w 156231"/>
                  <a:gd name="connsiteY22" fmla="*/ 39970 h 136289"/>
                  <a:gd name="connsiteX23" fmla="*/ 144801 w 156231"/>
                  <a:gd name="connsiteY23" fmla="*/ 63559 h 136289"/>
                  <a:gd name="connsiteX24" fmla="*/ 124564 w 156231"/>
                  <a:gd name="connsiteY24" fmla="*/ 63559 h 136289"/>
                  <a:gd name="connsiteX25" fmla="*/ 124564 w 156231"/>
                  <a:gd name="connsiteY25" fmla="*/ 59439 h 136289"/>
                  <a:gd name="connsiteX26" fmla="*/ 118848 w 156231"/>
                  <a:gd name="connsiteY26" fmla="*/ 53727 h 136289"/>
                  <a:gd name="connsiteX27" fmla="*/ 113132 w 156231"/>
                  <a:gd name="connsiteY27" fmla="*/ 59439 h 136289"/>
                  <a:gd name="connsiteX28" fmla="*/ 113132 w 156231"/>
                  <a:gd name="connsiteY28" fmla="*/ 63559 h 136289"/>
                  <a:gd name="connsiteX29" fmla="*/ 43100 w 156231"/>
                  <a:gd name="connsiteY29" fmla="*/ 63559 h 136289"/>
                  <a:gd name="connsiteX30" fmla="*/ 43100 w 156231"/>
                  <a:gd name="connsiteY30" fmla="*/ 59439 h 136289"/>
                  <a:gd name="connsiteX31" fmla="*/ 37384 w 156231"/>
                  <a:gd name="connsiteY31" fmla="*/ 53727 h 136289"/>
                  <a:gd name="connsiteX32" fmla="*/ 31668 w 156231"/>
                  <a:gd name="connsiteY32" fmla="*/ 59439 h 136289"/>
                  <a:gd name="connsiteX33" fmla="*/ 31668 w 156231"/>
                  <a:gd name="connsiteY33" fmla="*/ 63559 h 136289"/>
                  <a:gd name="connsiteX34" fmla="*/ 11432 w 156231"/>
                  <a:gd name="connsiteY34" fmla="*/ 63559 h 136289"/>
                  <a:gd name="connsiteX35" fmla="*/ 11432 w 156231"/>
                  <a:gd name="connsiteY35" fmla="*/ 39970 h 136289"/>
                  <a:gd name="connsiteX36" fmla="*/ 37384 w 156231"/>
                  <a:gd name="connsiteY36" fmla="*/ 39970 h 136289"/>
                  <a:gd name="connsiteX37" fmla="*/ 11432 w 156231"/>
                  <a:gd name="connsiteY37" fmla="*/ 124867 h 136289"/>
                  <a:gd name="connsiteX38" fmla="*/ 11432 w 156231"/>
                  <a:gd name="connsiteY38" fmla="*/ 74982 h 136289"/>
                  <a:gd name="connsiteX39" fmla="*/ 31668 w 156231"/>
                  <a:gd name="connsiteY39" fmla="*/ 74982 h 136289"/>
                  <a:gd name="connsiteX40" fmla="*/ 31668 w 156231"/>
                  <a:gd name="connsiteY40" fmla="*/ 79102 h 136289"/>
                  <a:gd name="connsiteX41" fmla="*/ 37384 w 156231"/>
                  <a:gd name="connsiteY41" fmla="*/ 84813 h 136289"/>
                  <a:gd name="connsiteX42" fmla="*/ 43100 w 156231"/>
                  <a:gd name="connsiteY42" fmla="*/ 79102 h 136289"/>
                  <a:gd name="connsiteX43" fmla="*/ 43100 w 156231"/>
                  <a:gd name="connsiteY43" fmla="*/ 74982 h 136289"/>
                  <a:gd name="connsiteX44" fmla="*/ 113132 w 156231"/>
                  <a:gd name="connsiteY44" fmla="*/ 74982 h 136289"/>
                  <a:gd name="connsiteX45" fmla="*/ 113132 w 156231"/>
                  <a:gd name="connsiteY45" fmla="*/ 79102 h 136289"/>
                  <a:gd name="connsiteX46" fmla="*/ 118848 w 156231"/>
                  <a:gd name="connsiteY46" fmla="*/ 84813 h 136289"/>
                  <a:gd name="connsiteX47" fmla="*/ 124564 w 156231"/>
                  <a:gd name="connsiteY47" fmla="*/ 79102 h 136289"/>
                  <a:gd name="connsiteX48" fmla="*/ 124564 w 156231"/>
                  <a:gd name="connsiteY48" fmla="*/ 74982 h 136289"/>
                  <a:gd name="connsiteX49" fmla="*/ 144801 w 156231"/>
                  <a:gd name="connsiteY49" fmla="*/ 74982 h 136289"/>
                  <a:gd name="connsiteX50" fmla="*/ 144801 w 156231"/>
                  <a:gd name="connsiteY50" fmla="*/ 124867 h 136289"/>
                  <a:gd name="connsiteX51" fmla="*/ 11432 w 156231"/>
                  <a:gd name="connsiteY51" fmla="*/ 124867 h 136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56231" h="136289">
                    <a:moveTo>
                      <a:pt x="150516" y="28547"/>
                    </a:moveTo>
                    <a:lnTo>
                      <a:pt x="124564" y="28547"/>
                    </a:lnTo>
                    <a:lnTo>
                      <a:pt x="124564" y="5711"/>
                    </a:lnTo>
                    <a:cubicBezTo>
                      <a:pt x="124564" y="2558"/>
                      <a:pt x="122007" y="0"/>
                      <a:pt x="118848" y="0"/>
                    </a:cubicBezTo>
                    <a:lnTo>
                      <a:pt x="37384" y="0"/>
                    </a:lnTo>
                    <a:cubicBezTo>
                      <a:pt x="34226" y="0"/>
                      <a:pt x="31668" y="2558"/>
                      <a:pt x="31668" y="5711"/>
                    </a:cubicBezTo>
                    <a:lnTo>
                      <a:pt x="31668" y="28547"/>
                    </a:lnTo>
                    <a:lnTo>
                      <a:pt x="5716" y="28547"/>
                    </a:lnTo>
                    <a:cubicBezTo>
                      <a:pt x="2558" y="28547"/>
                      <a:pt x="0" y="31105"/>
                      <a:pt x="0" y="34259"/>
                    </a:cubicBezTo>
                    <a:lnTo>
                      <a:pt x="0" y="130578"/>
                    </a:lnTo>
                    <a:cubicBezTo>
                      <a:pt x="0" y="133732"/>
                      <a:pt x="2558" y="136289"/>
                      <a:pt x="5716" y="136289"/>
                    </a:cubicBezTo>
                    <a:lnTo>
                      <a:pt x="150516" y="136289"/>
                    </a:lnTo>
                    <a:cubicBezTo>
                      <a:pt x="153674" y="136289"/>
                      <a:pt x="156232" y="133732"/>
                      <a:pt x="156232" y="130578"/>
                    </a:cubicBezTo>
                    <a:lnTo>
                      <a:pt x="156232" y="34259"/>
                    </a:lnTo>
                    <a:cubicBezTo>
                      <a:pt x="156232" y="31105"/>
                      <a:pt x="153674" y="28547"/>
                      <a:pt x="150516" y="28547"/>
                    </a:cubicBezTo>
                    <a:close/>
                    <a:moveTo>
                      <a:pt x="43100" y="11422"/>
                    </a:moveTo>
                    <a:lnTo>
                      <a:pt x="113132" y="11422"/>
                    </a:lnTo>
                    <a:lnTo>
                      <a:pt x="113132" y="28547"/>
                    </a:lnTo>
                    <a:lnTo>
                      <a:pt x="43100" y="28547"/>
                    </a:lnTo>
                    <a:lnTo>
                      <a:pt x="43100" y="11422"/>
                    </a:lnTo>
                    <a:close/>
                    <a:moveTo>
                      <a:pt x="37384" y="39970"/>
                    </a:moveTo>
                    <a:lnTo>
                      <a:pt x="118848" y="39970"/>
                    </a:lnTo>
                    <a:lnTo>
                      <a:pt x="144801" y="39970"/>
                    </a:lnTo>
                    <a:lnTo>
                      <a:pt x="144801" y="63559"/>
                    </a:lnTo>
                    <a:lnTo>
                      <a:pt x="124564" y="63559"/>
                    </a:lnTo>
                    <a:lnTo>
                      <a:pt x="124564" y="59439"/>
                    </a:lnTo>
                    <a:cubicBezTo>
                      <a:pt x="124564" y="56285"/>
                      <a:pt x="122007" y="53727"/>
                      <a:pt x="118848" y="53727"/>
                    </a:cubicBezTo>
                    <a:cubicBezTo>
                      <a:pt x="115691" y="53727"/>
                      <a:pt x="113132" y="56285"/>
                      <a:pt x="113132" y="59439"/>
                    </a:cubicBezTo>
                    <a:lnTo>
                      <a:pt x="113132" y="63559"/>
                    </a:lnTo>
                    <a:lnTo>
                      <a:pt x="43100" y="63559"/>
                    </a:lnTo>
                    <a:lnTo>
                      <a:pt x="43100" y="59439"/>
                    </a:lnTo>
                    <a:cubicBezTo>
                      <a:pt x="43100" y="56285"/>
                      <a:pt x="40541" y="53727"/>
                      <a:pt x="37384" y="53727"/>
                    </a:cubicBezTo>
                    <a:cubicBezTo>
                      <a:pt x="34226" y="53727"/>
                      <a:pt x="31668" y="56285"/>
                      <a:pt x="31668" y="59439"/>
                    </a:cubicBezTo>
                    <a:lnTo>
                      <a:pt x="31668" y="63559"/>
                    </a:lnTo>
                    <a:lnTo>
                      <a:pt x="11432" y="63559"/>
                    </a:lnTo>
                    <a:lnTo>
                      <a:pt x="11432" y="39970"/>
                    </a:lnTo>
                    <a:lnTo>
                      <a:pt x="37384" y="39970"/>
                    </a:lnTo>
                    <a:close/>
                    <a:moveTo>
                      <a:pt x="11432" y="124867"/>
                    </a:moveTo>
                    <a:lnTo>
                      <a:pt x="11432" y="74982"/>
                    </a:lnTo>
                    <a:lnTo>
                      <a:pt x="31668" y="74982"/>
                    </a:lnTo>
                    <a:lnTo>
                      <a:pt x="31668" y="79102"/>
                    </a:lnTo>
                    <a:cubicBezTo>
                      <a:pt x="31668" y="82256"/>
                      <a:pt x="34226" y="84813"/>
                      <a:pt x="37384" y="84813"/>
                    </a:cubicBezTo>
                    <a:cubicBezTo>
                      <a:pt x="40541" y="84813"/>
                      <a:pt x="43100" y="82256"/>
                      <a:pt x="43100" y="79102"/>
                    </a:cubicBezTo>
                    <a:lnTo>
                      <a:pt x="43100" y="74982"/>
                    </a:lnTo>
                    <a:lnTo>
                      <a:pt x="113132" y="74982"/>
                    </a:lnTo>
                    <a:lnTo>
                      <a:pt x="113132" y="79102"/>
                    </a:lnTo>
                    <a:cubicBezTo>
                      <a:pt x="113132" y="82256"/>
                      <a:pt x="115691" y="84813"/>
                      <a:pt x="118848" y="84813"/>
                    </a:cubicBezTo>
                    <a:cubicBezTo>
                      <a:pt x="122007" y="84813"/>
                      <a:pt x="124564" y="82256"/>
                      <a:pt x="124564" y="79102"/>
                    </a:cubicBezTo>
                    <a:lnTo>
                      <a:pt x="124564" y="74982"/>
                    </a:lnTo>
                    <a:lnTo>
                      <a:pt x="144801" y="74982"/>
                    </a:lnTo>
                    <a:lnTo>
                      <a:pt x="144801" y="124867"/>
                    </a:lnTo>
                    <a:lnTo>
                      <a:pt x="11432" y="12486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C929EBB-E742-AD4F-9A5F-3A443FD9F37B}"/>
                </a:ext>
              </a:extLst>
            </p:cNvPr>
            <p:cNvSpPr txBox="1"/>
            <p:nvPr/>
          </p:nvSpPr>
          <p:spPr>
            <a:xfrm>
              <a:off x="3784276" y="3716275"/>
              <a:ext cx="1222117" cy="388771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200" b="0" i="0" u="none" strike="noStrike" kern="1200" cap="none" spc="0" normalizeH="0" baseline="0" noProof="0">
                  <a:ln>
                    <a:noFill/>
                  </a:ln>
                  <a:solidFill>
                    <a:srgbClr val="2FB3B6"/>
                  </a:solidFill>
                  <a:effectLst/>
                  <a:uLnTx/>
                  <a:uFillTx/>
                  <a:latin typeface="Pluto Sans Bold" panose="02000000000000000000" pitchFamily="50" charset="0"/>
                  <a:ea typeface="+mn-ea"/>
                  <a:cs typeface="+mn-cs"/>
                </a:rPr>
                <a:t>Empowering recovery</a:t>
              </a:r>
            </a:p>
          </p:txBody>
        </p:sp>
        <p:grpSp>
          <p:nvGrpSpPr>
            <p:cNvPr id="7" name="Graphic 517">
              <a:extLst>
                <a:ext uri="{FF2B5EF4-FFF2-40B4-BE49-F238E27FC236}">
                  <a16:creationId xmlns:a16="http://schemas.microsoft.com/office/drawing/2014/main" id="{5B409868-BFC9-B258-6AF7-145D56F4CA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67384" y="4946082"/>
              <a:ext cx="640679" cy="613014"/>
              <a:chOff x="5246575" y="4306184"/>
              <a:chExt cx="278126" cy="266116"/>
            </a:xfrm>
            <a:solidFill>
              <a:schemeClr val="bg1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B153136-CDB4-49FA-A6CC-2F00578F191A}"/>
                  </a:ext>
                </a:extLst>
              </p:cNvPr>
              <p:cNvSpPr/>
              <p:nvPr/>
            </p:nvSpPr>
            <p:spPr>
              <a:xfrm>
                <a:off x="5321806" y="4402505"/>
                <a:ext cx="36359" cy="33934"/>
              </a:xfrm>
              <a:custGeom>
                <a:avLst/>
                <a:gdLst>
                  <a:gd name="connsiteX0" fmla="*/ 5084 w 36359"/>
                  <a:gd name="connsiteY0" fmla="*/ 26056 h 33934"/>
                  <a:gd name="connsiteX1" fmla="*/ 9187 w 36359"/>
                  <a:gd name="connsiteY1" fmla="*/ 30158 h 33934"/>
                  <a:gd name="connsiteX2" fmla="*/ 14767 w 36359"/>
                  <a:gd name="connsiteY2" fmla="*/ 28558 h 33934"/>
                  <a:gd name="connsiteX3" fmla="*/ 18089 w 36359"/>
                  <a:gd name="connsiteY3" fmla="*/ 25051 h 33934"/>
                  <a:gd name="connsiteX4" fmla="*/ 26944 w 36359"/>
                  <a:gd name="connsiteY4" fmla="*/ 32577 h 33934"/>
                  <a:gd name="connsiteX5" fmla="*/ 30645 w 36359"/>
                  <a:gd name="connsiteY5" fmla="*/ 33935 h 33934"/>
                  <a:gd name="connsiteX6" fmla="*/ 34999 w 36359"/>
                  <a:gd name="connsiteY6" fmla="*/ 31925 h 33934"/>
                  <a:gd name="connsiteX7" fmla="*/ 34348 w 36359"/>
                  <a:gd name="connsiteY7" fmla="*/ 23870 h 33934"/>
                  <a:gd name="connsiteX8" fmla="*/ 25957 w 36359"/>
                  <a:gd name="connsiteY8" fmla="*/ 16745 h 33934"/>
                  <a:gd name="connsiteX9" fmla="*/ 28990 w 36359"/>
                  <a:gd name="connsiteY9" fmla="*/ 13554 h 33934"/>
                  <a:gd name="connsiteX10" fmla="*/ 30292 w 36359"/>
                  <a:gd name="connsiteY10" fmla="*/ 7899 h 33934"/>
                  <a:gd name="connsiteX11" fmla="*/ 25986 w 36359"/>
                  <a:gd name="connsiteY11" fmla="*/ 4020 h 33934"/>
                  <a:gd name="connsiteX12" fmla="*/ 6862 w 36359"/>
                  <a:gd name="connsiteY12" fmla="*/ 113 h 33934"/>
                  <a:gd name="connsiteX13" fmla="*/ 1569 w 36359"/>
                  <a:gd name="connsiteY13" fmla="*/ 1778 h 33934"/>
                  <a:gd name="connsiteX14" fmla="*/ 183 w 36359"/>
                  <a:gd name="connsiteY14" fmla="*/ 7146 h 33934"/>
                  <a:gd name="connsiteX15" fmla="*/ 5084 w 36359"/>
                  <a:gd name="connsiteY15" fmla="*/ 26056 h 33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6359" h="33934">
                    <a:moveTo>
                      <a:pt x="5084" y="26056"/>
                    </a:moveTo>
                    <a:cubicBezTo>
                      <a:pt x="5605" y="28065"/>
                      <a:pt x="7178" y="29637"/>
                      <a:pt x="9187" y="30158"/>
                    </a:cubicBezTo>
                    <a:cubicBezTo>
                      <a:pt x="11187" y="30670"/>
                      <a:pt x="13326" y="30065"/>
                      <a:pt x="14767" y="28558"/>
                    </a:cubicBezTo>
                    <a:lnTo>
                      <a:pt x="18089" y="25051"/>
                    </a:lnTo>
                    <a:lnTo>
                      <a:pt x="26944" y="32577"/>
                    </a:lnTo>
                    <a:cubicBezTo>
                      <a:pt x="28022" y="33488"/>
                      <a:pt x="29334" y="33935"/>
                      <a:pt x="30645" y="33935"/>
                    </a:cubicBezTo>
                    <a:cubicBezTo>
                      <a:pt x="32264" y="33935"/>
                      <a:pt x="33873" y="33256"/>
                      <a:pt x="34999" y="31925"/>
                    </a:cubicBezTo>
                    <a:cubicBezTo>
                      <a:pt x="37045" y="29516"/>
                      <a:pt x="36748" y="25907"/>
                      <a:pt x="34348" y="23870"/>
                    </a:cubicBezTo>
                    <a:lnTo>
                      <a:pt x="25957" y="16745"/>
                    </a:lnTo>
                    <a:lnTo>
                      <a:pt x="28990" y="13554"/>
                    </a:lnTo>
                    <a:cubicBezTo>
                      <a:pt x="30413" y="12047"/>
                      <a:pt x="30915" y="9880"/>
                      <a:pt x="30292" y="7899"/>
                    </a:cubicBezTo>
                    <a:cubicBezTo>
                      <a:pt x="29669" y="5917"/>
                      <a:pt x="28022" y="4439"/>
                      <a:pt x="25986" y="4020"/>
                    </a:cubicBezTo>
                    <a:lnTo>
                      <a:pt x="6862" y="113"/>
                    </a:lnTo>
                    <a:cubicBezTo>
                      <a:pt x="4898" y="-277"/>
                      <a:pt x="2927" y="355"/>
                      <a:pt x="1569" y="1778"/>
                    </a:cubicBezTo>
                    <a:cubicBezTo>
                      <a:pt x="210" y="3211"/>
                      <a:pt x="-311" y="5239"/>
                      <a:pt x="183" y="7146"/>
                    </a:cubicBezTo>
                    <a:lnTo>
                      <a:pt x="5084" y="2605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D53BA7BF-6326-5ED7-C0B0-591C991DB73C}"/>
                  </a:ext>
                </a:extLst>
              </p:cNvPr>
              <p:cNvSpPr/>
              <p:nvPr/>
            </p:nvSpPr>
            <p:spPr>
              <a:xfrm>
                <a:off x="5246575" y="4306184"/>
                <a:ext cx="273126" cy="256303"/>
              </a:xfrm>
              <a:custGeom>
                <a:avLst/>
                <a:gdLst>
                  <a:gd name="connsiteX0" fmla="*/ 271588 w 273126"/>
                  <a:gd name="connsiteY0" fmla="*/ 1798 h 256303"/>
                  <a:gd name="connsiteX1" fmla="*/ 263505 w 273126"/>
                  <a:gd name="connsiteY1" fmla="*/ 1528 h 256303"/>
                  <a:gd name="connsiteX2" fmla="*/ 234362 w 273126"/>
                  <a:gd name="connsiteY2" fmla="*/ 28810 h 256303"/>
                  <a:gd name="connsiteX3" fmla="*/ 10524 w 273126"/>
                  <a:gd name="connsiteY3" fmla="*/ 28810 h 256303"/>
                  <a:gd name="connsiteX4" fmla="*/ 4813 w 273126"/>
                  <a:gd name="connsiteY4" fmla="*/ 34522 h 256303"/>
                  <a:gd name="connsiteX5" fmla="*/ 4813 w 273126"/>
                  <a:gd name="connsiteY5" fmla="*/ 214576 h 256303"/>
                  <a:gd name="connsiteX6" fmla="*/ 10524 w 273126"/>
                  <a:gd name="connsiteY6" fmla="*/ 220287 h 256303"/>
                  <a:gd name="connsiteX7" fmla="*/ 29733 w 273126"/>
                  <a:gd name="connsiteY7" fmla="*/ 220287 h 256303"/>
                  <a:gd name="connsiteX8" fmla="*/ 1809 w 273126"/>
                  <a:gd name="connsiteY8" fmla="*/ 246416 h 256303"/>
                  <a:gd name="connsiteX9" fmla="*/ 1539 w 273126"/>
                  <a:gd name="connsiteY9" fmla="*/ 254499 h 256303"/>
                  <a:gd name="connsiteX10" fmla="*/ 5715 w 273126"/>
                  <a:gd name="connsiteY10" fmla="*/ 256304 h 256303"/>
                  <a:gd name="connsiteX11" fmla="*/ 9622 w 273126"/>
                  <a:gd name="connsiteY11" fmla="*/ 254769 h 256303"/>
                  <a:gd name="connsiteX12" fmla="*/ 271318 w 273126"/>
                  <a:gd name="connsiteY12" fmla="*/ 9881 h 256303"/>
                  <a:gd name="connsiteX13" fmla="*/ 271588 w 273126"/>
                  <a:gd name="connsiteY13" fmla="*/ 1798 h 256303"/>
                  <a:gd name="connsiteX14" fmla="*/ 74512 w 273126"/>
                  <a:gd name="connsiteY14" fmla="*/ 178392 h 256303"/>
                  <a:gd name="connsiteX15" fmla="*/ 49657 w 273126"/>
                  <a:gd name="connsiteY15" fmla="*/ 178392 h 256303"/>
                  <a:gd name="connsiteX16" fmla="*/ 49657 w 273126"/>
                  <a:gd name="connsiteY16" fmla="*/ 70715 h 256303"/>
                  <a:gd name="connsiteX17" fmla="*/ 189574 w 273126"/>
                  <a:gd name="connsiteY17" fmla="*/ 70715 h 256303"/>
                  <a:gd name="connsiteX18" fmla="*/ 74512 w 273126"/>
                  <a:gd name="connsiteY18" fmla="*/ 178392 h 256303"/>
                  <a:gd name="connsiteX19" fmla="*/ 201788 w 273126"/>
                  <a:gd name="connsiteY19" fmla="*/ 59293 h 256303"/>
                  <a:gd name="connsiteX20" fmla="*/ 43946 w 273126"/>
                  <a:gd name="connsiteY20" fmla="*/ 59293 h 256303"/>
                  <a:gd name="connsiteX21" fmla="*/ 38234 w 273126"/>
                  <a:gd name="connsiteY21" fmla="*/ 65004 h 256303"/>
                  <a:gd name="connsiteX22" fmla="*/ 38234 w 273126"/>
                  <a:gd name="connsiteY22" fmla="*/ 184104 h 256303"/>
                  <a:gd name="connsiteX23" fmla="*/ 43946 w 273126"/>
                  <a:gd name="connsiteY23" fmla="*/ 189815 h 256303"/>
                  <a:gd name="connsiteX24" fmla="*/ 62298 w 273126"/>
                  <a:gd name="connsiteY24" fmla="*/ 189815 h 256303"/>
                  <a:gd name="connsiteX25" fmla="*/ 41946 w 273126"/>
                  <a:gd name="connsiteY25" fmla="*/ 208865 h 256303"/>
                  <a:gd name="connsiteX26" fmla="*/ 16236 w 273126"/>
                  <a:gd name="connsiteY26" fmla="*/ 208865 h 256303"/>
                  <a:gd name="connsiteX27" fmla="*/ 16236 w 273126"/>
                  <a:gd name="connsiteY27" fmla="*/ 40233 h 256303"/>
                  <a:gd name="connsiteX28" fmla="*/ 222149 w 273126"/>
                  <a:gd name="connsiteY28" fmla="*/ 40233 h 256303"/>
                  <a:gd name="connsiteX29" fmla="*/ 201788 w 273126"/>
                  <a:gd name="connsiteY29" fmla="*/ 59293 h 256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73126" h="256303">
                    <a:moveTo>
                      <a:pt x="271588" y="1798"/>
                    </a:moveTo>
                    <a:cubicBezTo>
                      <a:pt x="269429" y="-499"/>
                      <a:pt x="265820" y="-602"/>
                      <a:pt x="263505" y="1528"/>
                    </a:cubicBezTo>
                    <a:lnTo>
                      <a:pt x="234362" y="28810"/>
                    </a:lnTo>
                    <a:lnTo>
                      <a:pt x="10524" y="28810"/>
                    </a:lnTo>
                    <a:cubicBezTo>
                      <a:pt x="7371" y="28810"/>
                      <a:pt x="4813" y="31368"/>
                      <a:pt x="4813" y="34522"/>
                    </a:cubicBezTo>
                    <a:lnTo>
                      <a:pt x="4813" y="214576"/>
                    </a:lnTo>
                    <a:cubicBezTo>
                      <a:pt x="4813" y="217729"/>
                      <a:pt x="7371" y="220287"/>
                      <a:pt x="10524" y="220287"/>
                    </a:cubicBezTo>
                    <a:lnTo>
                      <a:pt x="29733" y="220287"/>
                    </a:lnTo>
                    <a:lnTo>
                      <a:pt x="1809" y="246416"/>
                    </a:lnTo>
                    <a:cubicBezTo>
                      <a:pt x="-498" y="248574"/>
                      <a:pt x="-610" y="252192"/>
                      <a:pt x="1539" y="254499"/>
                    </a:cubicBezTo>
                    <a:cubicBezTo>
                      <a:pt x="2665" y="255699"/>
                      <a:pt x="4190" y="256304"/>
                      <a:pt x="5715" y="256304"/>
                    </a:cubicBezTo>
                    <a:cubicBezTo>
                      <a:pt x="7120" y="256304"/>
                      <a:pt x="8515" y="255792"/>
                      <a:pt x="9622" y="254769"/>
                    </a:cubicBezTo>
                    <a:lnTo>
                      <a:pt x="271318" y="9881"/>
                    </a:lnTo>
                    <a:cubicBezTo>
                      <a:pt x="273625" y="7723"/>
                      <a:pt x="273737" y="4105"/>
                      <a:pt x="271588" y="1798"/>
                    </a:cubicBezTo>
                    <a:close/>
                    <a:moveTo>
                      <a:pt x="74512" y="178392"/>
                    </a:moveTo>
                    <a:lnTo>
                      <a:pt x="49657" y="178392"/>
                    </a:lnTo>
                    <a:lnTo>
                      <a:pt x="49657" y="70715"/>
                    </a:lnTo>
                    <a:lnTo>
                      <a:pt x="189574" y="70715"/>
                    </a:lnTo>
                    <a:lnTo>
                      <a:pt x="74512" y="178392"/>
                    </a:lnTo>
                    <a:close/>
                    <a:moveTo>
                      <a:pt x="201788" y="59293"/>
                    </a:moveTo>
                    <a:lnTo>
                      <a:pt x="43946" y="59293"/>
                    </a:lnTo>
                    <a:cubicBezTo>
                      <a:pt x="40792" y="59293"/>
                      <a:pt x="38234" y="61850"/>
                      <a:pt x="38234" y="65004"/>
                    </a:cubicBezTo>
                    <a:lnTo>
                      <a:pt x="38234" y="184104"/>
                    </a:lnTo>
                    <a:cubicBezTo>
                      <a:pt x="38234" y="187256"/>
                      <a:pt x="40792" y="189815"/>
                      <a:pt x="43946" y="189815"/>
                    </a:cubicBezTo>
                    <a:lnTo>
                      <a:pt x="62298" y="189815"/>
                    </a:lnTo>
                    <a:lnTo>
                      <a:pt x="41946" y="208865"/>
                    </a:lnTo>
                    <a:lnTo>
                      <a:pt x="16236" y="208865"/>
                    </a:lnTo>
                    <a:lnTo>
                      <a:pt x="16236" y="40233"/>
                    </a:lnTo>
                    <a:lnTo>
                      <a:pt x="222149" y="40233"/>
                    </a:lnTo>
                    <a:lnTo>
                      <a:pt x="201788" y="5929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3A042E06-747A-BFE0-50EC-07581A31E2B0}"/>
                  </a:ext>
                </a:extLst>
              </p:cNvPr>
              <p:cNvSpPr/>
              <p:nvPr/>
            </p:nvSpPr>
            <p:spPr>
              <a:xfrm>
                <a:off x="5325895" y="4344817"/>
                <a:ext cx="198806" cy="227483"/>
              </a:xfrm>
              <a:custGeom>
                <a:avLst/>
                <a:gdLst>
                  <a:gd name="connsiteX0" fmla="*/ 193096 w 198806"/>
                  <a:gd name="connsiteY0" fmla="*/ 0 h 227483"/>
                  <a:gd name="connsiteX1" fmla="*/ 187384 w 198806"/>
                  <a:gd name="connsiteY1" fmla="*/ 5711 h 227483"/>
                  <a:gd name="connsiteX2" fmla="*/ 187384 w 198806"/>
                  <a:gd name="connsiteY2" fmla="*/ 180036 h 227483"/>
                  <a:gd name="connsiteX3" fmla="*/ 5721 w 198806"/>
                  <a:gd name="connsiteY3" fmla="*/ 179720 h 227483"/>
                  <a:gd name="connsiteX4" fmla="*/ 5711 w 198806"/>
                  <a:gd name="connsiteY4" fmla="*/ 179720 h 227483"/>
                  <a:gd name="connsiteX5" fmla="*/ 0 w 198806"/>
                  <a:gd name="connsiteY5" fmla="*/ 185421 h 227483"/>
                  <a:gd name="connsiteX6" fmla="*/ 5703 w 198806"/>
                  <a:gd name="connsiteY6" fmla="*/ 191142 h 227483"/>
                  <a:gd name="connsiteX7" fmla="*/ 61354 w 198806"/>
                  <a:gd name="connsiteY7" fmla="*/ 191244 h 227483"/>
                  <a:gd name="connsiteX8" fmla="*/ 61354 w 198806"/>
                  <a:gd name="connsiteY8" fmla="*/ 216061 h 227483"/>
                  <a:gd name="connsiteX9" fmla="*/ 26966 w 198806"/>
                  <a:gd name="connsiteY9" fmla="*/ 216061 h 227483"/>
                  <a:gd name="connsiteX10" fmla="*/ 21255 w 198806"/>
                  <a:gd name="connsiteY10" fmla="*/ 221772 h 227483"/>
                  <a:gd name="connsiteX11" fmla="*/ 26966 w 198806"/>
                  <a:gd name="connsiteY11" fmla="*/ 227484 h 227483"/>
                  <a:gd name="connsiteX12" fmla="*/ 107175 w 198806"/>
                  <a:gd name="connsiteY12" fmla="*/ 227484 h 227483"/>
                  <a:gd name="connsiteX13" fmla="*/ 112887 w 198806"/>
                  <a:gd name="connsiteY13" fmla="*/ 221772 h 227483"/>
                  <a:gd name="connsiteX14" fmla="*/ 107175 w 198806"/>
                  <a:gd name="connsiteY14" fmla="*/ 216061 h 227483"/>
                  <a:gd name="connsiteX15" fmla="*/ 72778 w 198806"/>
                  <a:gd name="connsiteY15" fmla="*/ 216061 h 227483"/>
                  <a:gd name="connsiteX16" fmla="*/ 72778 w 198806"/>
                  <a:gd name="connsiteY16" fmla="*/ 191263 h 227483"/>
                  <a:gd name="connsiteX17" fmla="*/ 193086 w 198806"/>
                  <a:gd name="connsiteY17" fmla="*/ 191477 h 227483"/>
                  <a:gd name="connsiteX18" fmla="*/ 193096 w 198806"/>
                  <a:gd name="connsiteY18" fmla="*/ 191477 h 227483"/>
                  <a:gd name="connsiteX19" fmla="*/ 197132 w 198806"/>
                  <a:gd name="connsiteY19" fmla="*/ 189811 h 227483"/>
                  <a:gd name="connsiteX20" fmla="*/ 198807 w 198806"/>
                  <a:gd name="connsiteY20" fmla="*/ 185765 h 227483"/>
                  <a:gd name="connsiteX21" fmla="*/ 198807 w 198806"/>
                  <a:gd name="connsiteY21" fmla="*/ 5711 h 227483"/>
                  <a:gd name="connsiteX22" fmla="*/ 193096 w 198806"/>
                  <a:gd name="connsiteY22" fmla="*/ 0 h 227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98806" h="227483">
                    <a:moveTo>
                      <a:pt x="193096" y="0"/>
                    </a:moveTo>
                    <a:cubicBezTo>
                      <a:pt x="189942" y="0"/>
                      <a:pt x="187384" y="2558"/>
                      <a:pt x="187384" y="5711"/>
                    </a:cubicBezTo>
                    <a:lnTo>
                      <a:pt x="187384" y="180036"/>
                    </a:lnTo>
                    <a:lnTo>
                      <a:pt x="5721" y="179720"/>
                    </a:lnTo>
                    <a:lnTo>
                      <a:pt x="5711" y="179720"/>
                    </a:lnTo>
                    <a:cubicBezTo>
                      <a:pt x="2558" y="179720"/>
                      <a:pt x="0" y="182269"/>
                      <a:pt x="0" y="185421"/>
                    </a:cubicBezTo>
                    <a:cubicBezTo>
                      <a:pt x="-9" y="188575"/>
                      <a:pt x="2549" y="191142"/>
                      <a:pt x="5703" y="191142"/>
                    </a:cubicBezTo>
                    <a:lnTo>
                      <a:pt x="61354" y="191244"/>
                    </a:lnTo>
                    <a:lnTo>
                      <a:pt x="61354" y="216061"/>
                    </a:lnTo>
                    <a:lnTo>
                      <a:pt x="26966" y="216061"/>
                    </a:lnTo>
                    <a:cubicBezTo>
                      <a:pt x="23813" y="216061"/>
                      <a:pt x="21255" y="218620"/>
                      <a:pt x="21255" y="221772"/>
                    </a:cubicBezTo>
                    <a:cubicBezTo>
                      <a:pt x="21255" y="224926"/>
                      <a:pt x="23813" y="227484"/>
                      <a:pt x="26966" y="227484"/>
                    </a:cubicBezTo>
                    <a:lnTo>
                      <a:pt x="107175" y="227484"/>
                    </a:lnTo>
                    <a:cubicBezTo>
                      <a:pt x="110328" y="227484"/>
                      <a:pt x="112887" y="224926"/>
                      <a:pt x="112887" y="221772"/>
                    </a:cubicBezTo>
                    <a:cubicBezTo>
                      <a:pt x="112887" y="218620"/>
                      <a:pt x="110328" y="216061"/>
                      <a:pt x="107175" y="216061"/>
                    </a:cubicBezTo>
                    <a:lnTo>
                      <a:pt x="72778" y="216061"/>
                    </a:lnTo>
                    <a:lnTo>
                      <a:pt x="72778" y="191263"/>
                    </a:lnTo>
                    <a:lnTo>
                      <a:pt x="193086" y="191477"/>
                    </a:lnTo>
                    <a:lnTo>
                      <a:pt x="193096" y="191477"/>
                    </a:lnTo>
                    <a:cubicBezTo>
                      <a:pt x="194612" y="191477"/>
                      <a:pt x="196063" y="190882"/>
                      <a:pt x="197132" y="189811"/>
                    </a:cubicBezTo>
                    <a:cubicBezTo>
                      <a:pt x="198211" y="188742"/>
                      <a:pt x="198807" y="187282"/>
                      <a:pt x="198807" y="185765"/>
                    </a:cubicBezTo>
                    <a:lnTo>
                      <a:pt x="198807" y="5711"/>
                    </a:lnTo>
                    <a:cubicBezTo>
                      <a:pt x="198807" y="2558"/>
                      <a:pt x="196249" y="0"/>
                      <a:pt x="193096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DCBB52F8-887F-EDB1-200F-AFD491DBD5A5}"/>
                  </a:ext>
                </a:extLst>
              </p:cNvPr>
              <p:cNvSpPr/>
              <p:nvPr/>
            </p:nvSpPr>
            <p:spPr>
              <a:xfrm>
                <a:off x="5354126" y="4375290"/>
                <a:ext cx="137154" cy="130522"/>
              </a:xfrm>
              <a:custGeom>
                <a:avLst/>
                <a:gdLst>
                  <a:gd name="connsiteX0" fmla="*/ 125732 w 137154"/>
                  <a:gd name="connsiteY0" fmla="*/ 5711 h 130522"/>
                  <a:gd name="connsiteX1" fmla="*/ 125732 w 137154"/>
                  <a:gd name="connsiteY1" fmla="*/ 119100 h 130522"/>
                  <a:gd name="connsiteX2" fmla="*/ 5711 w 137154"/>
                  <a:gd name="connsiteY2" fmla="*/ 119100 h 130522"/>
                  <a:gd name="connsiteX3" fmla="*/ 0 w 137154"/>
                  <a:gd name="connsiteY3" fmla="*/ 124811 h 130522"/>
                  <a:gd name="connsiteX4" fmla="*/ 5711 w 137154"/>
                  <a:gd name="connsiteY4" fmla="*/ 130523 h 130522"/>
                  <a:gd name="connsiteX5" fmla="*/ 131443 w 137154"/>
                  <a:gd name="connsiteY5" fmla="*/ 130523 h 130522"/>
                  <a:gd name="connsiteX6" fmla="*/ 137154 w 137154"/>
                  <a:gd name="connsiteY6" fmla="*/ 124811 h 130522"/>
                  <a:gd name="connsiteX7" fmla="*/ 137154 w 137154"/>
                  <a:gd name="connsiteY7" fmla="*/ 5711 h 130522"/>
                  <a:gd name="connsiteX8" fmla="*/ 131443 w 137154"/>
                  <a:gd name="connsiteY8" fmla="*/ 0 h 130522"/>
                  <a:gd name="connsiteX9" fmla="*/ 125732 w 137154"/>
                  <a:gd name="connsiteY9" fmla="*/ 5711 h 13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7154" h="130522">
                    <a:moveTo>
                      <a:pt x="125732" y="5711"/>
                    </a:moveTo>
                    <a:lnTo>
                      <a:pt x="125732" y="119100"/>
                    </a:lnTo>
                    <a:lnTo>
                      <a:pt x="5711" y="119100"/>
                    </a:lnTo>
                    <a:cubicBezTo>
                      <a:pt x="2558" y="119100"/>
                      <a:pt x="0" y="121658"/>
                      <a:pt x="0" y="124811"/>
                    </a:cubicBezTo>
                    <a:cubicBezTo>
                      <a:pt x="0" y="127965"/>
                      <a:pt x="2558" y="130523"/>
                      <a:pt x="5711" y="130523"/>
                    </a:cubicBezTo>
                    <a:lnTo>
                      <a:pt x="131443" y="130523"/>
                    </a:lnTo>
                    <a:cubicBezTo>
                      <a:pt x="134597" y="130523"/>
                      <a:pt x="137154" y="127965"/>
                      <a:pt x="137154" y="124811"/>
                    </a:cubicBezTo>
                    <a:lnTo>
                      <a:pt x="137154" y="5711"/>
                    </a:lnTo>
                    <a:cubicBezTo>
                      <a:pt x="137154" y="2558"/>
                      <a:pt x="134597" y="0"/>
                      <a:pt x="131443" y="0"/>
                    </a:cubicBezTo>
                    <a:cubicBezTo>
                      <a:pt x="128290" y="0"/>
                      <a:pt x="125732" y="2558"/>
                      <a:pt x="125732" y="571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6" name="Graphic 143">
              <a:extLst>
                <a:ext uri="{FF2B5EF4-FFF2-40B4-BE49-F238E27FC236}">
                  <a16:creationId xmlns:a16="http://schemas.microsoft.com/office/drawing/2014/main" id="{A40635FB-A556-EAF5-4928-24835E44470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03776" y="2126660"/>
              <a:ext cx="509958" cy="665282"/>
              <a:chOff x="1804309" y="3011298"/>
              <a:chExt cx="213186" cy="278122"/>
            </a:xfrm>
            <a:solidFill>
              <a:schemeClr val="bg1"/>
            </a:solidFill>
          </p:grpSpPr>
          <p:sp>
            <p:nvSpPr>
              <p:cNvPr id="69" name="Freeform: Shape 43">
                <a:extLst>
                  <a:ext uri="{FF2B5EF4-FFF2-40B4-BE49-F238E27FC236}">
                    <a16:creationId xmlns:a16="http://schemas.microsoft.com/office/drawing/2014/main" id="{BDDCCCC4-7B82-0B9B-379D-137F45012C54}"/>
                  </a:ext>
                </a:extLst>
              </p:cNvPr>
              <p:cNvSpPr/>
              <p:nvPr/>
            </p:nvSpPr>
            <p:spPr>
              <a:xfrm>
                <a:off x="1844921" y="3229899"/>
                <a:ext cx="131963" cy="11422"/>
              </a:xfrm>
              <a:custGeom>
                <a:avLst/>
                <a:gdLst>
                  <a:gd name="connsiteX0" fmla="*/ 126247 w 131963"/>
                  <a:gd name="connsiteY0" fmla="*/ 0 h 11422"/>
                  <a:gd name="connsiteX1" fmla="*/ 5716 w 131963"/>
                  <a:gd name="connsiteY1" fmla="*/ 0 h 11422"/>
                  <a:gd name="connsiteX2" fmla="*/ 0 w 131963"/>
                  <a:gd name="connsiteY2" fmla="*/ 5711 h 11422"/>
                  <a:gd name="connsiteX3" fmla="*/ 5716 w 131963"/>
                  <a:gd name="connsiteY3" fmla="*/ 11422 h 11422"/>
                  <a:gd name="connsiteX4" fmla="*/ 126247 w 131963"/>
                  <a:gd name="connsiteY4" fmla="*/ 11422 h 11422"/>
                  <a:gd name="connsiteX5" fmla="*/ 131963 w 131963"/>
                  <a:gd name="connsiteY5" fmla="*/ 5711 h 11422"/>
                  <a:gd name="connsiteX6" fmla="*/ 126247 w 131963"/>
                  <a:gd name="connsiteY6" fmla="*/ 0 h 11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963" h="11422">
                    <a:moveTo>
                      <a:pt x="126247" y="0"/>
                    </a:moveTo>
                    <a:lnTo>
                      <a:pt x="5716" y="0"/>
                    </a:lnTo>
                    <a:cubicBezTo>
                      <a:pt x="2557" y="0"/>
                      <a:pt x="0" y="2557"/>
                      <a:pt x="0" y="5711"/>
                    </a:cubicBezTo>
                    <a:cubicBezTo>
                      <a:pt x="0" y="8865"/>
                      <a:pt x="2557" y="11422"/>
                      <a:pt x="5716" y="11422"/>
                    </a:cubicBezTo>
                    <a:lnTo>
                      <a:pt x="126247" y="11422"/>
                    </a:lnTo>
                    <a:cubicBezTo>
                      <a:pt x="129406" y="11422"/>
                      <a:pt x="131963" y="8865"/>
                      <a:pt x="131963" y="5711"/>
                    </a:cubicBezTo>
                    <a:cubicBezTo>
                      <a:pt x="131963" y="2557"/>
                      <a:pt x="129406" y="0"/>
                      <a:pt x="12624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BC10C5E-65C6-1DB8-502F-DC619ACF9DE0}"/>
                  </a:ext>
                </a:extLst>
              </p:cNvPr>
              <p:cNvSpPr/>
              <p:nvPr/>
            </p:nvSpPr>
            <p:spPr>
              <a:xfrm>
                <a:off x="1804309" y="3011298"/>
                <a:ext cx="213186" cy="278122"/>
              </a:xfrm>
              <a:custGeom>
                <a:avLst/>
                <a:gdLst>
                  <a:gd name="connsiteX0" fmla="*/ 212754 w 213186"/>
                  <a:gd name="connsiteY0" fmla="*/ 57978 h 278122"/>
                  <a:gd name="connsiteX1" fmla="*/ 211508 w 213186"/>
                  <a:gd name="connsiteY1" fmla="*/ 56118 h 278122"/>
                  <a:gd name="connsiteX2" fmla="*/ 156893 w 213186"/>
                  <a:gd name="connsiteY2" fmla="*/ 1665 h 278122"/>
                  <a:gd name="connsiteX3" fmla="*/ 155019 w 213186"/>
                  <a:gd name="connsiteY3" fmla="*/ 419 h 278122"/>
                  <a:gd name="connsiteX4" fmla="*/ 152855 w 213186"/>
                  <a:gd name="connsiteY4" fmla="*/ 0 h 278122"/>
                  <a:gd name="connsiteX5" fmla="*/ 14292 w 213186"/>
                  <a:gd name="connsiteY5" fmla="*/ 0 h 278122"/>
                  <a:gd name="connsiteX6" fmla="*/ 0 w 213186"/>
                  <a:gd name="connsiteY6" fmla="*/ 14297 h 278122"/>
                  <a:gd name="connsiteX7" fmla="*/ 0 w 213186"/>
                  <a:gd name="connsiteY7" fmla="*/ 263835 h 278122"/>
                  <a:gd name="connsiteX8" fmla="*/ 14292 w 213186"/>
                  <a:gd name="connsiteY8" fmla="*/ 278123 h 278122"/>
                  <a:gd name="connsiteX9" fmla="*/ 198895 w 213186"/>
                  <a:gd name="connsiteY9" fmla="*/ 278123 h 278122"/>
                  <a:gd name="connsiteX10" fmla="*/ 213187 w 213186"/>
                  <a:gd name="connsiteY10" fmla="*/ 263835 h 278122"/>
                  <a:gd name="connsiteX11" fmla="*/ 213187 w 213186"/>
                  <a:gd name="connsiteY11" fmla="*/ 60164 h 278122"/>
                  <a:gd name="connsiteX12" fmla="*/ 212754 w 213186"/>
                  <a:gd name="connsiteY12" fmla="*/ 57978 h 278122"/>
                  <a:gd name="connsiteX13" fmla="*/ 158571 w 213186"/>
                  <a:gd name="connsiteY13" fmla="*/ 19478 h 278122"/>
                  <a:gd name="connsiteX14" fmla="*/ 193644 w 213186"/>
                  <a:gd name="connsiteY14" fmla="*/ 54453 h 278122"/>
                  <a:gd name="connsiteX15" fmla="*/ 158571 w 213186"/>
                  <a:gd name="connsiteY15" fmla="*/ 54453 h 278122"/>
                  <a:gd name="connsiteX16" fmla="*/ 158571 w 213186"/>
                  <a:gd name="connsiteY16" fmla="*/ 19478 h 278122"/>
                  <a:gd name="connsiteX17" fmla="*/ 201755 w 213186"/>
                  <a:gd name="connsiteY17" fmla="*/ 263835 h 278122"/>
                  <a:gd name="connsiteX18" fmla="*/ 198895 w 213186"/>
                  <a:gd name="connsiteY18" fmla="*/ 266700 h 278122"/>
                  <a:gd name="connsiteX19" fmla="*/ 14292 w 213186"/>
                  <a:gd name="connsiteY19" fmla="*/ 266700 h 278122"/>
                  <a:gd name="connsiteX20" fmla="*/ 11432 w 213186"/>
                  <a:gd name="connsiteY20" fmla="*/ 263835 h 278122"/>
                  <a:gd name="connsiteX21" fmla="*/ 11432 w 213186"/>
                  <a:gd name="connsiteY21" fmla="*/ 14297 h 278122"/>
                  <a:gd name="connsiteX22" fmla="*/ 14292 w 213186"/>
                  <a:gd name="connsiteY22" fmla="*/ 11423 h 278122"/>
                  <a:gd name="connsiteX23" fmla="*/ 147140 w 213186"/>
                  <a:gd name="connsiteY23" fmla="*/ 11423 h 278122"/>
                  <a:gd name="connsiteX24" fmla="*/ 147140 w 213186"/>
                  <a:gd name="connsiteY24" fmla="*/ 60164 h 278122"/>
                  <a:gd name="connsiteX25" fmla="*/ 152855 w 213186"/>
                  <a:gd name="connsiteY25" fmla="*/ 65875 h 278122"/>
                  <a:gd name="connsiteX26" fmla="*/ 201755 w 213186"/>
                  <a:gd name="connsiteY26" fmla="*/ 65875 h 278122"/>
                  <a:gd name="connsiteX27" fmla="*/ 201755 w 213186"/>
                  <a:gd name="connsiteY27" fmla="*/ 263835 h 278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13186" h="278122">
                    <a:moveTo>
                      <a:pt x="212754" y="57978"/>
                    </a:moveTo>
                    <a:cubicBezTo>
                      <a:pt x="212471" y="57299"/>
                      <a:pt x="212057" y="56666"/>
                      <a:pt x="211508" y="56118"/>
                    </a:cubicBezTo>
                    <a:lnTo>
                      <a:pt x="156893" y="1665"/>
                    </a:lnTo>
                    <a:cubicBezTo>
                      <a:pt x="156340" y="1116"/>
                      <a:pt x="155703" y="698"/>
                      <a:pt x="155019" y="419"/>
                    </a:cubicBezTo>
                    <a:cubicBezTo>
                      <a:pt x="154354" y="149"/>
                      <a:pt x="153623" y="0"/>
                      <a:pt x="152855" y="0"/>
                    </a:cubicBezTo>
                    <a:lnTo>
                      <a:pt x="14292" y="0"/>
                    </a:lnTo>
                    <a:cubicBezTo>
                      <a:pt x="6414" y="0"/>
                      <a:pt x="0" y="6409"/>
                      <a:pt x="0" y="14297"/>
                    </a:cubicBezTo>
                    <a:lnTo>
                      <a:pt x="0" y="263835"/>
                    </a:lnTo>
                    <a:cubicBezTo>
                      <a:pt x="0" y="271714"/>
                      <a:pt x="6414" y="278123"/>
                      <a:pt x="14292" y="278123"/>
                    </a:cubicBezTo>
                    <a:lnTo>
                      <a:pt x="198895" y="278123"/>
                    </a:lnTo>
                    <a:cubicBezTo>
                      <a:pt x="206774" y="278123"/>
                      <a:pt x="213187" y="271714"/>
                      <a:pt x="213187" y="263835"/>
                    </a:cubicBezTo>
                    <a:lnTo>
                      <a:pt x="213187" y="60164"/>
                    </a:lnTo>
                    <a:cubicBezTo>
                      <a:pt x="213187" y="59391"/>
                      <a:pt x="213033" y="58647"/>
                      <a:pt x="212754" y="57978"/>
                    </a:cubicBezTo>
                    <a:close/>
                    <a:moveTo>
                      <a:pt x="158571" y="19478"/>
                    </a:moveTo>
                    <a:lnTo>
                      <a:pt x="193644" y="54453"/>
                    </a:lnTo>
                    <a:lnTo>
                      <a:pt x="158571" y="54453"/>
                    </a:lnTo>
                    <a:lnTo>
                      <a:pt x="158571" y="19478"/>
                    </a:lnTo>
                    <a:close/>
                    <a:moveTo>
                      <a:pt x="201755" y="263835"/>
                    </a:moveTo>
                    <a:cubicBezTo>
                      <a:pt x="201755" y="265389"/>
                      <a:pt x="200443" y="266700"/>
                      <a:pt x="198895" y="266700"/>
                    </a:cubicBezTo>
                    <a:lnTo>
                      <a:pt x="14292" y="266700"/>
                    </a:lnTo>
                    <a:cubicBezTo>
                      <a:pt x="12744" y="266700"/>
                      <a:pt x="11432" y="265389"/>
                      <a:pt x="11432" y="263835"/>
                    </a:cubicBezTo>
                    <a:lnTo>
                      <a:pt x="11432" y="14297"/>
                    </a:lnTo>
                    <a:cubicBezTo>
                      <a:pt x="11432" y="12743"/>
                      <a:pt x="12744" y="11423"/>
                      <a:pt x="14292" y="11423"/>
                    </a:cubicBezTo>
                    <a:lnTo>
                      <a:pt x="147140" y="11423"/>
                    </a:lnTo>
                    <a:lnTo>
                      <a:pt x="147140" y="60164"/>
                    </a:lnTo>
                    <a:cubicBezTo>
                      <a:pt x="147140" y="63318"/>
                      <a:pt x="149698" y="65875"/>
                      <a:pt x="152855" y="65875"/>
                    </a:cubicBezTo>
                    <a:lnTo>
                      <a:pt x="201755" y="65875"/>
                    </a:lnTo>
                    <a:lnTo>
                      <a:pt x="201755" y="26383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Freeform: Shape 48">
                <a:extLst>
                  <a:ext uri="{FF2B5EF4-FFF2-40B4-BE49-F238E27FC236}">
                    <a16:creationId xmlns:a16="http://schemas.microsoft.com/office/drawing/2014/main" id="{1640AE62-DDFB-8020-58B1-87808515527D}"/>
                  </a:ext>
                </a:extLst>
              </p:cNvPr>
              <p:cNvSpPr/>
              <p:nvPr/>
            </p:nvSpPr>
            <p:spPr>
              <a:xfrm>
                <a:off x="1844921" y="3197845"/>
                <a:ext cx="131963" cy="11422"/>
              </a:xfrm>
              <a:custGeom>
                <a:avLst/>
                <a:gdLst>
                  <a:gd name="connsiteX0" fmla="*/ 126247 w 131963"/>
                  <a:gd name="connsiteY0" fmla="*/ 0 h 11422"/>
                  <a:gd name="connsiteX1" fmla="*/ 5716 w 131963"/>
                  <a:gd name="connsiteY1" fmla="*/ 0 h 11422"/>
                  <a:gd name="connsiteX2" fmla="*/ 0 w 131963"/>
                  <a:gd name="connsiteY2" fmla="*/ 5711 h 11422"/>
                  <a:gd name="connsiteX3" fmla="*/ 5716 w 131963"/>
                  <a:gd name="connsiteY3" fmla="*/ 11422 h 11422"/>
                  <a:gd name="connsiteX4" fmla="*/ 126247 w 131963"/>
                  <a:gd name="connsiteY4" fmla="*/ 11422 h 11422"/>
                  <a:gd name="connsiteX5" fmla="*/ 131963 w 131963"/>
                  <a:gd name="connsiteY5" fmla="*/ 5711 h 11422"/>
                  <a:gd name="connsiteX6" fmla="*/ 126247 w 131963"/>
                  <a:gd name="connsiteY6" fmla="*/ 0 h 11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963" h="11422">
                    <a:moveTo>
                      <a:pt x="126247" y="0"/>
                    </a:moveTo>
                    <a:lnTo>
                      <a:pt x="5716" y="0"/>
                    </a:lnTo>
                    <a:cubicBezTo>
                      <a:pt x="2557" y="0"/>
                      <a:pt x="0" y="2557"/>
                      <a:pt x="0" y="5711"/>
                    </a:cubicBezTo>
                    <a:cubicBezTo>
                      <a:pt x="0" y="8864"/>
                      <a:pt x="2557" y="11422"/>
                      <a:pt x="5716" y="11422"/>
                    </a:cubicBezTo>
                    <a:lnTo>
                      <a:pt x="126247" y="11422"/>
                    </a:lnTo>
                    <a:cubicBezTo>
                      <a:pt x="129406" y="11422"/>
                      <a:pt x="131963" y="8864"/>
                      <a:pt x="131963" y="5711"/>
                    </a:cubicBezTo>
                    <a:cubicBezTo>
                      <a:pt x="131963" y="2557"/>
                      <a:pt x="129406" y="0"/>
                      <a:pt x="12624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51">
                <a:extLst>
                  <a:ext uri="{FF2B5EF4-FFF2-40B4-BE49-F238E27FC236}">
                    <a16:creationId xmlns:a16="http://schemas.microsoft.com/office/drawing/2014/main" id="{E54F7460-0B5E-73FC-C3C3-A534F902C9D2}"/>
                  </a:ext>
                </a:extLst>
              </p:cNvPr>
              <p:cNvSpPr/>
              <p:nvPr/>
            </p:nvSpPr>
            <p:spPr>
              <a:xfrm>
                <a:off x="1844921" y="3165781"/>
                <a:ext cx="131963" cy="11423"/>
              </a:xfrm>
              <a:custGeom>
                <a:avLst/>
                <a:gdLst>
                  <a:gd name="connsiteX0" fmla="*/ 0 w 131963"/>
                  <a:gd name="connsiteY0" fmla="*/ 5712 h 11423"/>
                  <a:gd name="connsiteX1" fmla="*/ 5716 w 131963"/>
                  <a:gd name="connsiteY1" fmla="*/ 11423 h 11423"/>
                  <a:gd name="connsiteX2" fmla="*/ 126247 w 131963"/>
                  <a:gd name="connsiteY2" fmla="*/ 11423 h 11423"/>
                  <a:gd name="connsiteX3" fmla="*/ 131963 w 131963"/>
                  <a:gd name="connsiteY3" fmla="*/ 5712 h 11423"/>
                  <a:gd name="connsiteX4" fmla="*/ 126247 w 131963"/>
                  <a:gd name="connsiteY4" fmla="*/ 0 h 11423"/>
                  <a:gd name="connsiteX5" fmla="*/ 5716 w 131963"/>
                  <a:gd name="connsiteY5" fmla="*/ 0 h 11423"/>
                  <a:gd name="connsiteX6" fmla="*/ 0 w 131963"/>
                  <a:gd name="connsiteY6" fmla="*/ 5712 h 11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1963" h="11423">
                    <a:moveTo>
                      <a:pt x="0" y="5712"/>
                    </a:moveTo>
                    <a:cubicBezTo>
                      <a:pt x="0" y="8865"/>
                      <a:pt x="2557" y="11423"/>
                      <a:pt x="5716" y="11423"/>
                    </a:cubicBezTo>
                    <a:lnTo>
                      <a:pt x="126247" y="11423"/>
                    </a:lnTo>
                    <a:cubicBezTo>
                      <a:pt x="129406" y="11423"/>
                      <a:pt x="131963" y="8865"/>
                      <a:pt x="131963" y="5712"/>
                    </a:cubicBezTo>
                    <a:cubicBezTo>
                      <a:pt x="131963" y="2558"/>
                      <a:pt x="129406" y="0"/>
                      <a:pt x="126247" y="0"/>
                    </a:cubicBezTo>
                    <a:lnTo>
                      <a:pt x="5716" y="0"/>
                    </a:lnTo>
                    <a:cubicBezTo>
                      <a:pt x="2557" y="0"/>
                      <a:pt x="0" y="2558"/>
                      <a:pt x="0" y="571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52">
                <a:extLst>
                  <a:ext uri="{FF2B5EF4-FFF2-40B4-BE49-F238E27FC236}">
                    <a16:creationId xmlns:a16="http://schemas.microsoft.com/office/drawing/2014/main" id="{458FBD44-C131-7092-6343-53A96FC20889}"/>
                  </a:ext>
                </a:extLst>
              </p:cNvPr>
              <p:cNvSpPr/>
              <p:nvPr/>
            </p:nvSpPr>
            <p:spPr>
              <a:xfrm>
                <a:off x="1892465" y="3086122"/>
                <a:ext cx="41153" cy="54610"/>
              </a:xfrm>
              <a:custGeom>
                <a:avLst/>
                <a:gdLst>
                  <a:gd name="connsiteX0" fmla="*/ 15172 w 41153"/>
                  <a:gd name="connsiteY0" fmla="*/ 50759 h 54610"/>
                  <a:gd name="connsiteX1" fmla="*/ 20577 w 41153"/>
                  <a:gd name="connsiteY1" fmla="*/ 54610 h 54610"/>
                  <a:gd name="connsiteX2" fmla="*/ 25981 w 41153"/>
                  <a:gd name="connsiteY2" fmla="*/ 50759 h 54610"/>
                  <a:gd name="connsiteX3" fmla="*/ 40841 w 41153"/>
                  <a:gd name="connsiteY3" fmla="*/ 7581 h 54610"/>
                  <a:gd name="connsiteX4" fmla="*/ 37297 w 41153"/>
                  <a:gd name="connsiteY4" fmla="*/ 316 h 54610"/>
                  <a:gd name="connsiteX5" fmla="*/ 30032 w 41153"/>
                  <a:gd name="connsiteY5" fmla="*/ 3859 h 54610"/>
                  <a:gd name="connsiteX6" fmla="*/ 20577 w 41153"/>
                  <a:gd name="connsiteY6" fmla="*/ 31337 h 54610"/>
                  <a:gd name="connsiteX7" fmla="*/ 11121 w 41153"/>
                  <a:gd name="connsiteY7" fmla="*/ 3859 h 54610"/>
                  <a:gd name="connsiteX8" fmla="*/ 3856 w 41153"/>
                  <a:gd name="connsiteY8" fmla="*/ 316 h 54610"/>
                  <a:gd name="connsiteX9" fmla="*/ 313 w 41153"/>
                  <a:gd name="connsiteY9" fmla="*/ 7581 h 54610"/>
                  <a:gd name="connsiteX10" fmla="*/ 15172 w 41153"/>
                  <a:gd name="connsiteY10" fmla="*/ 50759 h 54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153" h="54610">
                    <a:moveTo>
                      <a:pt x="15172" y="50759"/>
                    </a:moveTo>
                    <a:cubicBezTo>
                      <a:pt x="15967" y="53065"/>
                      <a:pt x="18135" y="54610"/>
                      <a:pt x="20577" y="54610"/>
                    </a:cubicBezTo>
                    <a:cubicBezTo>
                      <a:pt x="23019" y="54610"/>
                      <a:pt x="25186" y="53065"/>
                      <a:pt x="25981" y="50759"/>
                    </a:cubicBezTo>
                    <a:lnTo>
                      <a:pt x="40841" y="7581"/>
                    </a:lnTo>
                    <a:cubicBezTo>
                      <a:pt x="41869" y="4594"/>
                      <a:pt x="40283" y="1339"/>
                      <a:pt x="37297" y="316"/>
                    </a:cubicBezTo>
                    <a:cubicBezTo>
                      <a:pt x="34311" y="-717"/>
                      <a:pt x="31055" y="874"/>
                      <a:pt x="30032" y="3859"/>
                    </a:cubicBezTo>
                    <a:lnTo>
                      <a:pt x="20577" y="31337"/>
                    </a:lnTo>
                    <a:lnTo>
                      <a:pt x="11121" y="3859"/>
                    </a:lnTo>
                    <a:cubicBezTo>
                      <a:pt x="10093" y="864"/>
                      <a:pt x="6852" y="-717"/>
                      <a:pt x="3856" y="316"/>
                    </a:cubicBezTo>
                    <a:cubicBezTo>
                      <a:pt x="871" y="1339"/>
                      <a:pt x="-715" y="4594"/>
                      <a:pt x="313" y="7581"/>
                    </a:cubicBezTo>
                    <a:lnTo>
                      <a:pt x="15172" y="5075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53">
                <a:extLst>
                  <a:ext uri="{FF2B5EF4-FFF2-40B4-BE49-F238E27FC236}">
                    <a16:creationId xmlns:a16="http://schemas.microsoft.com/office/drawing/2014/main" id="{4EFC73C6-F9F8-2B74-0F78-3C16963446F1}"/>
                  </a:ext>
                </a:extLst>
              </p:cNvPr>
              <p:cNvSpPr/>
              <p:nvPr/>
            </p:nvSpPr>
            <p:spPr>
              <a:xfrm>
                <a:off x="1844921" y="3086131"/>
                <a:ext cx="41408" cy="54602"/>
              </a:xfrm>
              <a:custGeom>
                <a:avLst/>
                <a:gdLst>
                  <a:gd name="connsiteX0" fmla="*/ 22017 w 41408"/>
                  <a:gd name="connsiteY0" fmla="*/ 54602 h 54602"/>
                  <a:gd name="connsiteX1" fmla="*/ 40774 w 41408"/>
                  <a:gd name="connsiteY1" fmla="*/ 41523 h 54602"/>
                  <a:gd name="connsiteX2" fmla="*/ 38150 w 41408"/>
                  <a:gd name="connsiteY2" fmla="*/ 33878 h 54602"/>
                  <a:gd name="connsiteX3" fmla="*/ 30505 w 41408"/>
                  <a:gd name="connsiteY3" fmla="*/ 36501 h 54602"/>
                  <a:gd name="connsiteX4" fmla="*/ 22017 w 41408"/>
                  <a:gd name="connsiteY4" fmla="*/ 43179 h 54602"/>
                  <a:gd name="connsiteX5" fmla="*/ 11431 w 41408"/>
                  <a:gd name="connsiteY5" fmla="*/ 27301 h 54602"/>
                  <a:gd name="connsiteX6" fmla="*/ 22017 w 41408"/>
                  <a:gd name="connsiteY6" fmla="*/ 11423 h 54602"/>
                  <a:gd name="connsiteX7" fmla="*/ 30542 w 41408"/>
                  <a:gd name="connsiteY7" fmla="*/ 18195 h 54602"/>
                  <a:gd name="connsiteX8" fmla="*/ 38174 w 41408"/>
                  <a:gd name="connsiteY8" fmla="*/ 20855 h 54602"/>
                  <a:gd name="connsiteX9" fmla="*/ 40839 w 41408"/>
                  <a:gd name="connsiteY9" fmla="*/ 13227 h 54602"/>
                  <a:gd name="connsiteX10" fmla="*/ 22017 w 41408"/>
                  <a:gd name="connsiteY10" fmla="*/ 0 h 54602"/>
                  <a:gd name="connsiteX11" fmla="*/ 0 w 41408"/>
                  <a:gd name="connsiteY11" fmla="*/ 27301 h 54602"/>
                  <a:gd name="connsiteX12" fmla="*/ 22017 w 41408"/>
                  <a:gd name="connsiteY12" fmla="*/ 54602 h 54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1408" h="54602">
                    <a:moveTo>
                      <a:pt x="22017" y="54602"/>
                    </a:moveTo>
                    <a:cubicBezTo>
                      <a:pt x="29756" y="54602"/>
                      <a:pt x="36769" y="49719"/>
                      <a:pt x="40774" y="41523"/>
                    </a:cubicBezTo>
                    <a:cubicBezTo>
                      <a:pt x="42160" y="38687"/>
                      <a:pt x="40983" y="35263"/>
                      <a:pt x="38150" y="33878"/>
                    </a:cubicBezTo>
                    <a:cubicBezTo>
                      <a:pt x="35304" y="32510"/>
                      <a:pt x="31891" y="33663"/>
                      <a:pt x="30505" y="36501"/>
                    </a:cubicBezTo>
                    <a:cubicBezTo>
                      <a:pt x="28463" y="40677"/>
                      <a:pt x="25286" y="43179"/>
                      <a:pt x="22017" y="43179"/>
                    </a:cubicBezTo>
                    <a:cubicBezTo>
                      <a:pt x="16277" y="43179"/>
                      <a:pt x="11431" y="35905"/>
                      <a:pt x="11431" y="27301"/>
                    </a:cubicBezTo>
                    <a:cubicBezTo>
                      <a:pt x="11431" y="18697"/>
                      <a:pt x="16277" y="11423"/>
                      <a:pt x="22017" y="11423"/>
                    </a:cubicBezTo>
                    <a:cubicBezTo>
                      <a:pt x="25310" y="11423"/>
                      <a:pt x="28496" y="13953"/>
                      <a:pt x="30542" y="18195"/>
                    </a:cubicBezTo>
                    <a:cubicBezTo>
                      <a:pt x="31918" y="21050"/>
                      <a:pt x="35337" y="22260"/>
                      <a:pt x="38174" y="20855"/>
                    </a:cubicBezTo>
                    <a:cubicBezTo>
                      <a:pt x="41016" y="19487"/>
                      <a:pt x="42211" y="16065"/>
                      <a:pt x="40839" y="13227"/>
                    </a:cubicBezTo>
                    <a:cubicBezTo>
                      <a:pt x="36834" y="4940"/>
                      <a:pt x="29803" y="0"/>
                      <a:pt x="22017" y="0"/>
                    </a:cubicBezTo>
                    <a:cubicBezTo>
                      <a:pt x="9878" y="0"/>
                      <a:pt x="0" y="12242"/>
                      <a:pt x="0" y="27301"/>
                    </a:cubicBezTo>
                    <a:cubicBezTo>
                      <a:pt x="0" y="42361"/>
                      <a:pt x="9878" y="54602"/>
                      <a:pt x="22017" y="5460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79" name="Graphic 431">
              <a:extLst>
                <a:ext uri="{FF2B5EF4-FFF2-40B4-BE49-F238E27FC236}">
                  <a16:creationId xmlns:a16="http://schemas.microsoft.com/office/drawing/2014/main" id="{ED40BDC7-0775-61D9-BF4F-B42EF36819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78709" y="2206431"/>
              <a:ext cx="664637" cy="567613"/>
              <a:chOff x="2345510" y="3737751"/>
              <a:chExt cx="316231" cy="270067"/>
            </a:xfrm>
            <a:solidFill>
              <a:schemeClr val="bg1"/>
            </a:solidFill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F7262B36-5A20-AB89-48D9-F6B9D4AE1440}"/>
                  </a:ext>
                </a:extLst>
              </p:cNvPr>
              <p:cNvSpPr/>
              <p:nvPr/>
            </p:nvSpPr>
            <p:spPr>
              <a:xfrm>
                <a:off x="2345510" y="3737751"/>
                <a:ext cx="158004" cy="270067"/>
              </a:xfrm>
              <a:custGeom>
                <a:avLst/>
                <a:gdLst>
                  <a:gd name="connsiteX0" fmla="*/ 147215 w 158004"/>
                  <a:gd name="connsiteY0" fmla="*/ 0 h 270067"/>
                  <a:gd name="connsiteX1" fmla="*/ 119798 w 158004"/>
                  <a:gd name="connsiteY1" fmla="*/ 0 h 270067"/>
                  <a:gd name="connsiteX2" fmla="*/ 57490 w 158004"/>
                  <a:gd name="connsiteY2" fmla="*/ 35440 h 270067"/>
                  <a:gd name="connsiteX3" fmla="*/ 21403 w 158004"/>
                  <a:gd name="connsiteY3" fmla="*/ 84860 h 270067"/>
                  <a:gd name="connsiteX4" fmla="*/ 0 w 158004"/>
                  <a:gd name="connsiteY4" fmla="*/ 132773 h 270067"/>
                  <a:gd name="connsiteX5" fmla="*/ 12925 w 158004"/>
                  <a:gd name="connsiteY5" fmla="*/ 170873 h 270067"/>
                  <a:gd name="connsiteX6" fmla="*/ 26575 w 158004"/>
                  <a:gd name="connsiteY6" fmla="*/ 219568 h 270067"/>
                  <a:gd name="connsiteX7" fmla="*/ 62852 w 158004"/>
                  <a:gd name="connsiteY7" fmla="*/ 235585 h 270067"/>
                  <a:gd name="connsiteX8" fmla="*/ 124039 w 158004"/>
                  <a:gd name="connsiteY8" fmla="*/ 270068 h 270067"/>
                  <a:gd name="connsiteX9" fmla="*/ 149149 w 158004"/>
                  <a:gd name="connsiteY9" fmla="*/ 267593 h 270067"/>
                  <a:gd name="connsiteX10" fmla="*/ 158005 w 158004"/>
                  <a:gd name="connsiteY10" fmla="*/ 256989 h 270067"/>
                  <a:gd name="connsiteX11" fmla="*/ 158005 w 158004"/>
                  <a:gd name="connsiteY11" fmla="*/ 10781 h 270067"/>
                  <a:gd name="connsiteX12" fmla="*/ 147215 w 158004"/>
                  <a:gd name="connsiteY12" fmla="*/ 0 h 270067"/>
                  <a:gd name="connsiteX13" fmla="*/ 72087 w 158004"/>
                  <a:gd name="connsiteY13" fmla="*/ 228413 h 270067"/>
                  <a:gd name="connsiteX14" fmla="*/ 80933 w 158004"/>
                  <a:gd name="connsiteY14" fmla="*/ 193033 h 270067"/>
                  <a:gd name="connsiteX15" fmla="*/ 81083 w 158004"/>
                  <a:gd name="connsiteY15" fmla="*/ 192761 h 270067"/>
                  <a:gd name="connsiteX16" fmla="*/ 119802 w 158004"/>
                  <a:gd name="connsiteY16" fmla="*/ 168129 h 270067"/>
                  <a:gd name="connsiteX17" fmla="*/ 125518 w 158004"/>
                  <a:gd name="connsiteY17" fmla="*/ 162418 h 270067"/>
                  <a:gd name="connsiteX18" fmla="*/ 119802 w 158004"/>
                  <a:gd name="connsiteY18" fmla="*/ 156707 h 270067"/>
                  <a:gd name="connsiteX19" fmla="*/ 73602 w 158004"/>
                  <a:gd name="connsiteY19" fmla="*/ 183336 h 270067"/>
                  <a:gd name="connsiteX20" fmla="*/ 63247 w 158004"/>
                  <a:gd name="connsiteY20" fmla="*/ 171738 h 270067"/>
                  <a:gd name="connsiteX21" fmla="*/ 57531 w 158004"/>
                  <a:gd name="connsiteY21" fmla="*/ 166027 h 270067"/>
                  <a:gd name="connsiteX22" fmla="*/ 51815 w 158004"/>
                  <a:gd name="connsiteY22" fmla="*/ 171738 h 270067"/>
                  <a:gd name="connsiteX23" fmla="*/ 68242 w 158004"/>
                  <a:gd name="connsiteY23" fmla="*/ 193357 h 270067"/>
                  <a:gd name="connsiteX24" fmla="*/ 60829 w 158004"/>
                  <a:gd name="connsiteY24" fmla="*/ 223830 h 270067"/>
                  <a:gd name="connsiteX25" fmla="*/ 35165 w 158004"/>
                  <a:gd name="connsiteY25" fmla="*/ 212024 h 270067"/>
                  <a:gd name="connsiteX26" fmla="*/ 24575 w 158004"/>
                  <a:gd name="connsiteY26" fmla="*/ 170036 h 270067"/>
                  <a:gd name="connsiteX27" fmla="*/ 23175 w 158004"/>
                  <a:gd name="connsiteY27" fmla="*/ 165293 h 270067"/>
                  <a:gd name="connsiteX28" fmla="*/ 11432 w 158004"/>
                  <a:gd name="connsiteY28" fmla="*/ 132773 h 270067"/>
                  <a:gd name="connsiteX29" fmla="*/ 30189 w 158004"/>
                  <a:gd name="connsiteY29" fmla="*/ 92692 h 270067"/>
                  <a:gd name="connsiteX30" fmla="*/ 32872 w 158004"/>
                  <a:gd name="connsiteY30" fmla="*/ 87520 h 270067"/>
                  <a:gd name="connsiteX31" fmla="*/ 32826 w 158004"/>
                  <a:gd name="connsiteY31" fmla="*/ 85865 h 270067"/>
                  <a:gd name="connsiteX32" fmla="*/ 56151 w 158004"/>
                  <a:gd name="connsiteY32" fmla="*/ 47962 h 270067"/>
                  <a:gd name="connsiteX33" fmla="*/ 95868 w 158004"/>
                  <a:gd name="connsiteY33" fmla="*/ 86208 h 270067"/>
                  <a:gd name="connsiteX34" fmla="*/ 101584 w 158004"/>
                  <a:gd name="connsiteY34" fmla="*/ 80497 h 270067"/>
                  <a:gd name="connsiteX35" fmla="*/ 95868 w 158004"/>
                  <a:gd name="connsiteY35" fmla="*/ 74786 h 270067"/>
                  <a:gd name="connsiteX36" fmla="*/ 67277 w 158004"/>
                  <a:gd name="connsiteY36" fmla="*/ 41646 h 270067"/>
                  <a:gd name="connsiteX37" fmla="*/ 119798 w 158004"/>
                  <a:gd name="connsiteY37" fmla="*/ 11423 h 270067"/>
                  <a:gd name="connsiteX38" fmla="*/ 146573 w 158004"/>
                  <a:gd name="connsiteY38" fmla="*/ 10781 h 270067"/>
                  <a:gd name="connsiteX39" fmla="*/ 146670 w 158004"/>
                  <a:gd name="connsiteY39" fmla="*/ 55728 h 270067"/>
                  <a:gd name="connsiteX40" fmla="*/ 132974 w 158004"/>
                  <a:gd name="connsiteY40" fmla="*/ 58676 h 270067"/>
                  <a:gd name="connsiteX41" fmla="*/ 107054 w 158004"/>
                  <a:gd name="connsiteY41" fmla="*/ 42714 h 270067"/>
                  <a:gd name="connsiteX42" fmla="*/ 99612 w 158004"/>
                  <a:gd name="connsiteY42" fmla="*/ 39570 h 270067"/>
                  <a:gd name="connsiteX43" fmla="*/ 96460 w 158004"/>
                  <a:gd name="connsiteY43" fmla="*/ 47011 h 270067"/>
                  <a:gd name="connsiteX44" fmla="*/ 132974 w 158004"/>
                  <a:gd name="connsiteY44" fmla="*/ 70098 h 270067"/>
                  <a:gd name="connsiteX45" fmla="*/ 146695 w 158004"/>
                  <a:gd name="connsiteY45" fmla="*/ 67639 h 270067"/>
                  <a:gd name="connsiteX46" fmla="*/ 146782 w 158004"/>
                  <a:gd name="connsiteY46" fmla="*/ 107832 h 270067"/>
                  <a:gd name="connsiteX47" fmla="*/ 126132 w 158004"/>
                  <a:gd name="connsiteY47" fmla="*/ 99296 h 270067"/>
                  <a:gd name="connsiteX48" fmla="*/ 98152 w 158004"/>
                  <a:gd name="connsiteY48" fmla="*/ 113017 h 270067"/>
                  <a:gd name="connsiteX49" fmla="*/ 75057 w 158004"/>
                  <a:gd name="connsiteY49" fmla="*/ 118130 h 270067"/>
                  <a:gd name="connsiteX50" fmla="*/ 49434 w 158004"/>
                  <a:gd name="connsiteY50" fmla="*/ 100533 h 270067"/>
                  <a:gd name="connsiteX51" fmla="*/ 43718 w 158004"/>
                  <a:gd name="connsiteY51" fmla="*/ 106244 h 270067"/>
                  <a:gd name="connsiteX52" fmla="*/ 49434 w 158004"/>
                  <a:gd name="connsiteY52" fmla="*/ 111956 h 270067"/>
                  <a:gd name="connsiteX53" fmla="*/ 65126 w 158004"/>
                  <a:gd name="connsiteY53" fmla="*/ 126680 h 270067"/>
                  <a:gd name="connsiteX54" fmla="*/ 54666 w 158004"/>
                  <a:gd name="connsiteY54" fmla="*/ 142456 h 270067"/>
                  <a:gd name="connsiteX55" fmla="*/ 51178 w 158004"/>
                  <a:gd name="connsiteY55" fmla="*/ 149739 h 270067"/>
                  <a:gd name="connsiteX56" fmla="*/ 56569 w 158004"/>
                  <a:gd name="connsiteY56" fmla="*/ 153563 h 270067"/>
                  <a:gd name="connsiteX57" fmla="*/ 58471 w 158004"/>
                  <a:gd name="connsiteY57" fmla="*/ 153228 h 270067"/>
                  <a:gd name="connsiteX58" fmla="*/ 76274 w 158004"/>
                  <a:gd name="connsiteY58" fmla="*/ 130225 h 270067"/>
                  <a:gd name="connsiteX59" fmla="*/ 81897 w 158004"/>
                  <a:gd name="connsiteY59" fmla="*/ 130931 h 270067"/>
                  <a:gd name="connsiteX60" fmla="*/ 106430 w 158004"/>
                  <a:gd name="connsiteY60" fmla="*/ 120895 h 270067"/>
                  <a:gd name="connsiteX61" fmla="*/ 126174 w 158004"/>
                  <a:gd name="connsiteY61" fmla="*/ 110719 h 270067"/>
                  <a:gd name="connsiteX62" fmla="*/ 146815 w 158004"/>
                  <a:gd name="connsiteY62" fmla="*/ 123108 h 270067"/>
                  <a:gd name="connsiteX63" fmla="*/ 146956 w 158004"/>
                  <a:gd name="connsiteY63" fmla="*/ 188450 h 270067"/>
                  <a:gd name="connsiteX64" fmla="*/ 104905 w 158004"/>
                  <a:gd name="connsiteY64" fmla="*/ 208471 h 270067"/>
                  <a:gd name="connsiteX65" fmla="*/ 107914 w 158004"/>
                  <a:gd name="connsiteY65" fmla="*/ 215977 h 270067"/>
                  <a:gd name="connsiteX66" fmla="*/ 110156 w 158004"/>
                  <a:gd name="connsiteY66" fmla="*/ 216443 h 270067"/>
                  <a:gd name="connsiteX67" fmla="*/ 115416 w 158004"/>
                  <a:gd name="connsiteY67" fmla="*/ 212973 h 270067"/>
                  <a:gd name="connsiteX68" fmla="*/ 146982 w 158004"/>
                  <a:gd name="connsiteY68" fmla="*/ 200240 h 270067"/>
                  <a:gd name="connsiteX69" fmla="*/ 147103 w 158004"/>
                  <a:gd name="connsiteY69" fmla="*/ 256347 h 270067"/>
                  <a:gd name="connsiteX70" fmla="*/ 72087 w 158004"/>
                  <a:gd name="connsiteY70" fmla="*/ 228413 h 270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58004" h="270067">
                    <a:moveTo>
                      <a:pt x="147215" y="0"/>
                    </a:moveTo>
                    <a:lnTo>
                      <a:pt x="119798" y="0"/>
                    </a:lnTo>
                    <a:cubicBezTo>
                      <a:pt x="91357" y="0"/>
                      <a:pt x="66526" y="17571"/>
                      <a:pt x="57490" y="35440"/>
                    </a:cubicBezTo>
                    <a:cubicBezTo>
                      <a:pt x="36072" y="41226"/>
                      <a:pt x="21789" y="60657"/>
                      <a:pt x="21403" y="84860"/>
                    </a:cubicBezTo>
                    <a:cubicBezTo>
                      <a:pt x="8125" y="94683"/>
                      <a:pt x="0" y="112691"/>
                      <a:pt x="0" y="132773"/>
                    </a:cubicBezTo>
                    <a:cubicBezTo>
                      <a:pt x="0" y="146540"/>
                      <a:pt x="4902" y="160874"/>
                      <a:pt x="12925" y="170873"/>
                    </a:cubicBezTo>
                    <a:cubicBezTo>
                      <a:pt x="11311" y="184966"/>
                      <a:pt x="13943" y="205160"/>
                      <a:pt x="26575" y="219568"/>
                    </a:cubicBezTo>
                    <a:cubicBezTo>
                      <a:pt x="32919" y="226786"/>
                      <a:pt x="44262" y="235177"/>
                      <a:pt x="62852" y="235585"/>
                    </a:cubicBezTo>
                    <a:cubicBezTo>
                      <a:pt x="75395" y="258784"/>
                      <a:pt x="95450" y="270068"/>
                      <a:pt x="124039" y="270068"/>
                    </a:cubicBezTo>
                    <a:cubicBezTo>
                      <a:pt x="131704" y="270068"/>
                      <a:pt x="140158" y="269239"/>
                      <a:pt x="149149" y="267593"/>
                    </a:cubicBezTo>
                    <a:cubicBezTo>
                      <a:pt x="154279" y="266654"/>
                      <a:pt x="158005" y="262198"/>
                      <a:pt x="158005" y="256989"/>
                    </a:cubicBezTo>
                    <a:lnTo>
                      <a:pt x="158005" y="10781"/>
                    </a:lnTo>
                    <a:cubicBezTo>
                      <a:pt x="158005" y="4837"/>
                      <a:pt x="153163" y="0"/>
                      <a:pt x="147215" y="0"/>
                    </a:cubicBezTo>
                    <a:close/>
                    <a:moveTo>
                      <a:pt x="72087" y="228413"/>
                    </a:moveTo>
                    <a:cubicBezTo>
                      <a:pt x="72299" y="217375"/>
                      <a:pt x="74987" y="204250"/>
                      <a:pt x="80933" y="193033"/>
                    </a:cubicBezTo>
                    <a:cubicBezTo>
                      <a:pt x="80987" y="192944"/>
                      <a:pt x="81033" y="192854"/>
                      <a:pt x="81083" y="192761"/>
                    </a:cubicBezTo>
                    <a:cubicBezTo>
                      <a:pt x="88497" y="178937"/>
                      <a:pt x="100868" y="168129"/>
                      <a:pt x="119802" y="168129"/>
                    </a:cubicBezTo>
                    <a:cubicBezTo>
                      <a:pt x="122960" y="168129"/>
                      <a:pt x="125518" y="165572"/>
                      <a:pt x="125518" y="162418"/>
                    </a:cubicBezTo>
                    <a:cubicBezTo>
                      <a:pt x="125518" y="159264"/>
                      <a:pt x="122960" y="156707"/>
                      <a:pt x="119802" y="156707"/>
                    </a:cubicBezTo>
                    <a:cubicBezTo>
                      <a:pt x="99087" y="156707"/>
                      <a:pt x="83563" y="167695"/>
                      <a:pt x="73602" y="183336"/>
                    </a:cubicBezTo>
                    <a:cubicBezTo>
                      <a:pt x="68272" y="180883"/>
                      <a:pt x="63247" y="175183"/>
                      <a:pt x="63247" y="171738"/>
                    </a:cubicBezTo>
                    <a:cubicBezTo>
                      <a:pt x="63247" y="168585"/>
                      <a:pt x="60689" y="166027"/>
                      <a:pt x="57531" y="166027"/>
                    </a:cubicBezTo>
                    <a:cubicBezTo>
                      <a:pt x="54373" y="166027"/>
                      <a:pt x="51815" y="168585"/>
                      <a:pt x="51815" y="171738"/>
                    </a:cubicBezTo>
                    <a:cubicBezTo>
                      <a:pt x="51815" y="180345"/>
                      <a:pt x="59746" y="189147"/>
                      <a:pt x="68242" y="193357"/>
                    </a:cubicBezTo>
                    <a:cubicBezTo>
                      <a:pt x="64038" y="202837"/>
                      <a:pt x="61519" y="213317"/>
                      <a:pt x="60829" y="223830"/>
                    </a:cubicBezTo>
                    <a:cubicBezTo>
                      <a:pt x="50290" y="223069"/>
                      <a:pt x="41552" y="219288"/>
                      <a:pt x="35165" y="212024"/>
                    </a:cubicBezTo>
                    <a:cubicBezTo>
                      <a:pt x="25031" y="200471"/>
                      <a:pt x="22543" y="182612"/>
                      <a:pt x="24575" y="170036"/>
                    </a:cubicBezTo>
                    <a:cubicBezTo>
                      <a:pt x="24854" y="168324"/>
                      <a:pt x="24338" y="166576"/>
                      <a:pt x="23175" y="165293"/>
                    </a:cubicBezTo>
                    <a:cubicBezTo>
                      <a:pt x="15929" y="157275"/>
                      <a:pt x="11432" y="144819"/>
                      <a:pt x="11432" y="132773"/>
                    </a:cubicBezTo>
                    <a:cubicBezTo>
                      <a:pt x="11432" y="115258"/>
                      <a:pt x="18617" y="99901"/>
                      <a:pt x="30189" y="92692"/>
                    </a:cubicBezTo>
                    <a:cubicBezTo>
                      <a:pt x="31961" y="91595"/>
                      <a:pt x="32989" y="89604"/>
                      <a:pt x="32872" y="87520"/>
                    </a:cubicBezTo>
                    <a:lnTo>
                      <a:pt x="32826" y="85865"/>
                    </a:lnTo>
                    <a:cubicBezTo>
                      <a:pt x="32826" y="68262"/>
                      <a:pt x="41962" y="53822"/>
                      <a:pt x="56151" y="47962"/>
                    </a:cubicBezTo>
                    <a:cubicBezTo>
                      <a:pt x="58914" y="79308"/>
                      <a:pt x="78893" y="86208"/>
                      <a:pt x="95868" y="86208"/>
                    </a:cubicBezTo>
                    <a:cubicBezTo>
                      <a:pt x="99027" y="86208"/>
                      <a:pt x="101584" y="83651"/>
                      <a:pt x="101584" y="80497"/>
                    </a:cubicBezTo>
                    <a:cubicBezTo>
                      <a:pt x="101584" y="77345"/>
                      <a:pt x="99027" y="74786"/>
                      <a:pt x="95868" y="74786"/>
                    </a:cubicBezTo>
                    <a:cubicBezTo>
                      <a:pt x="83758" y="74786"/>
                      <a:pt x="67749" y="71263"/>
                      <a:pt x="67277" y="41646"/>
                    </a:cubicBezTo>
                    <a:cubicBezTo>
                      <a:pt x="73963" y="26944"/>
                      <a:pt x="95512" y="11423"/>
                      <a:pt x="119798" y="11423"/>
                    </a:cubicBezTo>
                    <a:lnTo>
                      <a:pt x="146573" y="10781"/>
                    </a:lnTo>
                    <a:lnTo>
                      <a:pt x="146670" y="55728"/>
                    </a:lnTo>
                    <a:cubicBezTo>
                      <a:pt x="141824" y="57306"/>
                      <a:pt x="136230" y="58676"/>
                      <a:pt x="132974" y="58676"/>
                    </a:cubicBezTo>
                    <a:cubicBezTo>
                      <a:pt x="120974" y="58676"/>
                      <a:pt x="111040" y="52555"/>
                      <a:pt x="107054" y="42714"/>
                    </a:cubicBezTo>
                    <a:cubicBezTo>
                      <a:pt x="105868" y="39784"/>
                      <a:pt x="102529" y="38370"/>
                      <a:pt x="99612" y="39570"/>
                    </a:cubicBezTo>
                    <a:cubicBezTo>
                      <a:pt x="96687" y="40751"/>
                      <a:pt x="95273" y="44081"/>
                      <a:pt x="96460" y="47011"/>
                    </a:cubicBezTo>
                    <a:cubicBezTo>
                      <a:pt x="102231" y="61252"/>
                      <a:pt x="116221" y="70098"/>
                      <a:pt x="132974" y="70098"/>
                    </a:cubicBezTo>
                    <a:cubicBezTo>
                      <a:pt x="136998" y="70098"/>
                      <a:pt x="142134" y="68943"/>
                      <a:pt x="146695" y="67639"/>
                    </a:cubicBezTo>
                    <a:lnTo>
                      <a:pt x="146782" y="107832"/>
                    </a:lnTo>
                    <a:cubicBezTo>
                      <a:pt x="140777" y="103278"/>
                      <a:pt x="133460" y="99296"/>
                      <a:pt x="126132" y="99296"/>
                    </a:cubicBezTo>
                    <a:cubicBezTo>
                      <a:pt x="116212" y="99315"/>
                      <a:pt x="106793" y="103938"/>
                      <a:pt x="98152" y="113017"/>
                    </a:cubicBezTo>
                    <a:cubicBezTo>
                      <a:pt x="92526" y="118927"/>
                      <a:pt x="81689" y="121143"/>
                      <a:pt x="75057" y="118130"/>
                    </a:cubicBezTo>
                    <a:cubicBezTo>
                      <a:pt x="71529" y="107706"/>
                      <a:pt x="61742" y="100533"/>
                      <a:pt x="49434" y="100533"/>
                    </a:cubicBezTo>
                    <a:cubicBezTo>
                      <a:pt x="46276" y="100533"/>
                      <a:pt x="43718" y="103092"/>
                      <a:pt x="43718" y="106244"/>
                    </a:cubicBezTo>
                    <a:cubicBezTo>
                      <a:pt x="43718" y="109398"/>
                      <a:pt x="46276" y="111956"/>
                      <a:pt x="49434" y="111956"/>
                    </a:cubicBezTo>
                    <a:cubicBezTo>
                      <a:pt x="58527" y="111956"/>
                      <a:pt x="65126" y="118151"/>
                      <a:pt x="65126" y="126680"/>
                    </a:cubicBezTo>
                    <a:cubicBezTo>
                      <a:pt x="65126" y="133564"/>
                      <a:pt x="60629" y="140345"/>
                      <a:pt x="54666" y="142456"/>
                    </a:cubicBezTo>
                    <a:cubicBezTo>
                      <a:pt x="51690" y="143507"/>
                      <a:pt x="50127" y="146763"/>
                      <a:pt x="51178" y="149739"/>
                    </a:cubicBezTo>
                    <a:cubicBezTo>
                      <a:pt x="52006" y="152093"/>
                      <a:pt x="54215" y="153563"/>
                      <a:pt x="56569" y="153563"/>
                    </a:cubicBezTo>
                    <a:cubicBezTo>
                      <a:pt x="57201" y="153563"/>
                      <a:pt x="57843" y="153451"/>
                      <a:pt x="58471" y="153228"/>
                    </a:cubicBezTo>
                    <a:cubicBezTo>
                      <a:pt x="67880" y="149912"/>
                      <a:pt x="74926" y="140557"/>
                      <a:pt x="76274" y="130225"/>
                    </a:cubicBezTo>
                    <a:cubicBezTo>
                      <a:pt x="78118" y="130565"/>
                      <a:pt x="79960" y="130931"/>
                      <a:pt x="81897" y="130931"/>
                    </a:cubicBezTo>
                    <a:cubicBezTo>
                      <a:pt x="90794" y="130931"/>
                      <a:pt x="100250" y="127397"/>
                      <a:pt x="106430" y="120895"/>
                    </a:cubicBezTo>
                    <a:cubicBezTo>
                      <a:pt x="112840" y="114161"/>
                      <a:pt x="119477" y="110737"/>
                      <a:pt x="126174" y="110719"/>
                    </a:cubicBezTo>
                    <a:cubicBezTo>
                      <a:pt x="131455" y="110719"/>
                      <a:pt x="139095" y="115395"/>
                      <a:pt x="146815" y="123108"/>
                    </a:cubicBezTo>
                    <a:lnTo>
                      <a:pt x="146956" y="188450"/>
                    </a:lnTo>
                    <a:cubicBezTo>
                      <a:pt x="127678" y="184757"/>
                      <a:pt x="110669" y="195009"/>
                      <a:pt x="104905" y="208471"/>
                    </a:cubicBezTo>
                    <a:cubicBezTo>
                      <a:pt x="103663" y="211373"/>
                      <a:pt x="105012" y="214741"/>
                      <a:pt x="107914" y="215977"/>
                    </a:cubicBezTo>
                    <a:cubicBezTo>
                      <a:pt x="108649" y="216294"/>
                      <a:pt x="109407" y="216443"/>
                      <a:pt x="110156" y="216443"/>
                    </a:cubicBezTo>
                    <a:cubicBezTo>
                      <a:pt x="112379" y="216443"/>
                      <a:pt x="114486" y="215141"/>
                      <a:pt x="115416" y="212973"/>
                    </a:cubicBezTo>
                    <a:cubicBezTo>
                      <a:pt x="119534" y="203348"/>
                      <a:pt x="132815" y="196596"/>
                      <a:pt x="146982" y="200240"/>
                    </a:cubicBezTo>
                    <a:lnTo>
                      <a:pt x="147103" y="256347"/>
                    </a:lnTo>
                    <a:cubicBezTo>
                      <a:pt x="108970" y="263315"/>
                      <a:pt x="85492" y="254725"/>
                      <a:pt x="72087" y="22841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0E88C195-91D6-258E-F91F-FD6EBAAD06A4}"/>
                  </a:ext>
                </a:extLst>
              </p:cNvPr>
              <p:cNvSpPr/>
              <p:nvPr/>
            </p:nvSpPr>
            <p:spPr>
              <a:xfrm>
                <a:off x="2522140" y="3737751"/>
                <a:ext cx="139601" cy="267760"/>
              </a:xfrm>
              <a:custGeom>
                <a:avLst/>
                <a:gdLst>
                  <a:gd name="connsiteX0" fmla="*/ 128816 w 139601"/>
                  <a:gd name="connsiteY0" fmla="*/ 103668 h 267760"/>
                  <a:gd name="connsiteX1" fmla="*/ 108213 w 139601"/>
                  <a:gd name="connsiteY1" fmla="*/ 103668 h 267760"/>
                  <a:gd name="connsiteX2" fmla="*/ 100209 w 139601"/>
                  <a:gd name="connsiteY2" fmla="*/ 84321 h 267760"/>
                  <a:gd name="connsiteX3" fmla="*/ 115263 w 139601"/>
                  <a:gd name="connsiteY3" fmla="*/ 68628 h 267760"/>
                  <a:gd name="connsiteX4" fmla="*/ 115092 w 139601"/>
                  <a:gd name="connsiteY4" fmla="*/ 53503 h 267760"/>
                  <a:gd name="connsiteX5" fmla="*/ 85958 w 139601"/>
                  <a:gd name="connsiteY5" fmla="*/ 24594 h 267760"/>
                  <a:gd name="connsiteX6" fmla="*/ 70819 w 139601"/>
                  <a:gd name="connsiteY6" fmla="*/ 24538 h 267760"/>
                  <a:gd name="connsiteX7" fmla="*/ 55378 w 139601"/>
                  <a:gd name="connsiteY7" fmla="*/ 39644 h 267760"/>
                  <a:gd name="connsiteX8" fmla="*/ 35938 w 139601"/>
                  <a:gd name="connsiteY8" fmla="*/ 31738 h 267760"/>
                  <a:gd name="connsiteX9" fmla="*/ 35938 w 139601"/>
                  <a:gd name="connsiteY9" fmla="*/ 10790 h 267760"/>
                  <a:gd name="connsiteX10" fmla="*/ 25153 w 139601"/>
                  <a:gd name="connsiteY10" fmla="*/ 0 h 267760"/>
                  <a:gd name="connsiteX11" fmla="*/ 5716 w 139601"/>
                  <a:gd name="connsiteY11" fmla="*/ 0 h 267760"/>
                  <a:gd name="connsiteX12" fmla="*/ 0 w 139601"/>
                  <a:gd name="connsiteY12" fmla="*/ 5711 h 267760"/>
                  <a:gd name="connsiteX13" fmla="*/ 5716 w 139601"/>
                  <a:gd name="connsiteY13" fmla="*/ 11423 h 267760"/>
                  <a:gd name="connsiteX14" fmla="*/ 24506 w 139601"/>
                  <a:gd name="connsiteY14" fmla="*/ 10790 h 267760"/>
                  <a:gd name="connsiteX15" fmla="*/ 24506 w 139601"/>
                  <a:gd name="connsiteY15" fmla="*/ 36175 h 267760"/>
                  <a:gd name="connsiteX16" fmla="*/ 28929 w 139601"/>
                  <a:gd name="connsiteY16" fmla="*/ 41747 h 267760"/>
                  <a:gd name="connsiteX17" fmla="*/ 53383 w 139601"/>
                  <a:gd name="connsiteY17" fmla="*/ 51653 h 267760"/>
                  <a:gd name="connsiteX18" fmla="*/ 60294 w 139601"/>
                  <a:gd name="connsiteY18" fmla="*/ 50825 h 267760"/>
                  <a:gd name="connsiteX19" fmla="*/ 77907 w 139601"/>
                  <a:gd name="connsiteY19" fmla="*/ 32705 h 267760"/>
                  <a:gd name="connsiteX20" fmla="*/ 107027 w 139601"/>
                  <a:gd name="connsiteY20" fmla="*/ 60713 h 267760"/>
                  <a:gd name="connsiteX21" fmla="*/ 88990 w 139601"/>
                  <a:gd name="connsiteY21" fmla="*/ 79502 h 267760"/>
                  <a:gd name="connsiteX22" fmla="*/ 88214 w 139601"/>
                  <a:gd name="connsiteY22" fmla="*/ 86404 h 267760"/>
                  <a:gd name="connsiteX23" fmla="*/ 98231 w 139601"/>
                  <a:gd name="connsiteY23" fmla="*/ 110682 h 267760"/>
                  <a:gd name="connsiteX24" fmla="*/ 103794 w 139601"/>
                  <a:gd name="connsiteY24" fmla="*/ 115091 h 267760"/>
                  <a:gd name="connsiteX25" fmla="*/ 128169 w 139601"/>
                  <a:gd name="connsiteY25" fmla="*/ 114449 h 267760"/>
                  <a:gd name="connsiteX26" fmla="*/ 128816 w 139601"/>
                  <a:gd name="connsiteY26" fmla="*/ 152679 h 267760"/>
                  <a:gd name="connsiteX27" fmla="*/ 103794 w 139601"/>
                  <a:gd name="connsiteY27" fmla="*/ 152679 h 267760"/>
                  <a:gd name="connsiteX28" fmla="*/ 98231 w 139601"/>
                  <a:gd name="connsiteY28" fmla="*/ 157079 h 267760"/>
                  <a:gd name="connsiteX29" fmla="*/ 88367 w 139601"/>
                  <a:gd name="connsiteY29" fmla="*/ 180863 h 267760"/>
                  <a:gd name="connsiteX30" fmla="*/ 89214 w 139601"/>
                  <a:gd name="connsiteY30" fmla="*/ 187839 h 267760"/>
                  <a:gd name="connsiteX31" fmla="*/ 107269 w 139601"/>
                  <a:gd name="connsiteY31" fmla="*/ 205095 h 267760"/>
                  <a:gd name="connsiteX32" fmla="*/ 79256 w 139601"/>
                  <a:gd name="connsiteY32" fmla="*/ 234060 h 267760"/>
                  <a:gd name="connsiteX33" fmla="*/ 60285 w 139601"/>
                  <a:gd name="connsiteY33" fmla="*/ 215922 h 267760"/>
                  <a:gd name="connsiteX34" fmla="*/ 53411 w 139601"/>
                  <a:gd name="connsiteY34" fmla="*/ 215141 h 267760"/>
                  <a:gd name="connsiteX35" fmla="*/ 28929 w 139601"/>
                  <a:gd name="connsiteY35" fmla="*/ 225121 h 267760"/>
                  <a:gd name="connsiteX36" fmla="*/ 24506 w 139601"/>
                  <a:gd name="connsiteY36" fmla="*/ 230684 h 267760"/>
                  <a:gd name="connsiteX37" fmla="*/ 25153 w 139601"/>
                  <a:gd name="connsiteY37" fmla="*/ 256338 h 267760"/>
                  <a:gd name="connsiteX38" fmla="*/ 5716 w 139601"/>
                  <a:gd name="connsiteY38" fmla="*/ 256338 h 267760"/>
                  <a:gd name="connsiteX39" fmla="*/ 0 w 139601"/>
                  <a:gd name="connsiteY39" fmla="*/ 262050 h 267760"/>
                  <a:gd name="connsiteX40" fmla="*/ 5716 w 139601"/>
                  <a:gd name="connsiteY40" fmla="*/ 267761 h 267760"/>
                  <a:gd name="connsiteX41" fmla="*/ 25153 w 139601"/>
                  <a:gd name="connsiteY41" fmla="*/ 267761 h 267760"/>
                  <a:gd name="connsiteX42" fmla="*/ 35938 w 139601"/>
                  <a:gd name="connsiteY42" fmla="*/ 256979 h 267760"/>
                  <a:gd name="connsiteX43" fmla="*/ 35938 w 139601"/>
                  <a:gd name="connsiteY43" fmla="*/ 235111 h 267760"/>
                  <a:gd name="connsiteX44" fmla="*/ 55467 w 139601"/>
                  <a:gd name="connsiteY44" fmla="*/ 227130 h 267760"/>
                  <a:gd name="connsiteX45" fmla="*/ 71363 w 139601"/>
                  <a:gd name="connsiteY45" fmla="*/ 242329 h 267760"/>
                  <a:gd name="connsiteX46" fmla="*/ 86451 w 139601"/>
                  <a:gd name="connsiteY46" fmla="*/ 242134 h 267760"/>
                  <a:gd name="connsiteX47" fmla="*/ 115361 w 139601"/>
                  <a:gd name="connsiteY47" fmla="*/ 213168 h 267760"/>
                  <a:gd name="connsiteX48" fmla="*/ 115374 w 139601"/>
                  <a:gd name="connsiteY48" fmla="*/ 197951 h 267760"/>
                  <a:gd name="connsiteX49" fmla="*/ 100404 w 139601"/>
                  <a:gd name="connsiteY49" fmla="*/ 182882 h 267760"/>
                  <a:gd name="connsiteX50" fmla="*/ 108208 w 139601"/>
                  <a:gd name="connsiteY50" fmla="*/ 164102 h 267760"/>
                  <a:gd name="connsiteX51" fmla="*/ 128816 w 139601"/>
                  <a:gd name="connsiteY51" fmla="*/ 164102 h 267760"/>
                  <a:gd name="connsiteX52" fmla="*/ 139601 w 139601"/>
                  <a:gd name="connsiteY52" fmla="*/ 153321 h 267760"/>
                  <a:gd name="connsiteX53" fmla="*/ 139601 w 139601"/>
                  <a:gd name="connsiteY53" fmla="*/ 114449 h 267760"/>
                  <a:gd name="connsiteX54" fmla="*/ 128816 w 139601"/>
                  <a:gd name="connsiteY54" fmla="*/ 103668 h 267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39601" h="267760">
                    <a:moveTo>
                      <a:pt x="128816" y="103668"/>
                    </a:moveTo>
                    <a:lnTo>
                      <a:pt x="108213" y="103668"/>
                    </a:lnTo>
                    <a:cubicBezTo>
                      <a:pt x="105887" y="95538"/>
                      <a:pt x="102860" y="89130"/>
                      <a:pt x="100209" y="84321"/>
                    </a:cubicBezTo>
                    <a:lnTo>
                      <a:pt x="115263" y="68628"/>
                    </a:lnTo>
                    <a:cubicBezTo>
                      <a:pt x="119328" y="64406"/>
                      <a:pt x="119249" y="57624"/>
                      <a:pt x="115092" y="53503"/>
                    </a:cubicBezTo>
                    <a:lnTo>
                      <a:pt x="85958" y="24594"/>
                    </a:lnTo>
                    <a:cubicBezTo>
                      <a:pt x="81809" y="20473"/>
                      <a:pt x="75014" y="20436"/>
                      <a:pt x="70819" y="24538"/>
                    </a:cubicBezTo>
                    <a:lnTo>
                      <a:pt x="55378" y="39644"/>
                    </a:lnTo>
                    <a:cubicBezTo>
                      <a:pt x="49025" y="36212"/>
                      <a:pt x="42696" y="33635"/>
                      <a:pt x="35938" y="31738"/>
                    </a:cubicBezTo>
                    <a:lnTo>
                      <a:pt x="35938" y="10790"/>
                    </a:lnTo>
                    <a:cubicBezTo>
                      <a:pt x="35938" y="4837"/>
                      <a:pt x="31101" y="0"/>
                      <a:pt x="25153" y="0"/>
                    </a:cubicBezTo>
                    <a:lnTo>
                      <a:pt x="5716" y="0"/>
                    </a:lnTo>
                    <a:cubicBezTo>
                      <a:pt x="2558" y="0"/>
                      <a:pt x="0" y="2558"/>
                      <a:pt x="0" y="5711"/>
                    </a:cubicBezTo>
                    <a:cubicBezTo>
                      <a:pt x="0" y="8865"/>
                      <a:pt x="2558" y="11423"/>
                      <a:pt x="5716" y="11423"/>
                    </a:cubicBezTo>
                    <a:lnTo>
                      <a:pt x="24506" y="10790"/>
                    </a:lnTo>
                    <a:lnTo>
                      <a:pt x="24506" y="36175"/>
                    </a:lnTo>
                    <a:cubicBezTo>
                      <a:pt x="24506" y="38835"/>
                      <a:pt x="26339" y="41142"/>
                      <a:pt x="28929" y="41747"/>
                    </a:cubicBezTo>
                    <a:cubicBezTo>
                      <a:pt x="37617" y="43756"/>
                      <a:pt x="45384" y="46908"/>
                      <a:pt x="53383" y="51653"/>
                    </a:cubicBezTo>
                    <a:cubicBezTo>
                      <a:pt x="55597" y="52974"/>
                      <a:pt x="58448" y="52648"/>
                      <a:pt x="60294" y="50825"/>
                    </a:cubicBezTo>
                    <a:lnTo>
                      <a:pt x="77907" y="32705"/>
                    </a:lnTo>
                    <a:lnTo>
                      <a:pt x="107027" y="60713"/>
                    </a:lnTo>
                    <a:lnTo>
                      <a:pt x="88990" y="79502"/>
                    </a:lnTo>
                    <a:cubicBezTo>
                      <a:pt x="87199" y="81362"/>
                      <a:pt x="86883" y="84190"/>
                      <a:pt x="88214" y="86404"/>
                    </a:cubicBezTo>
                    <a:cubicBezTo>
                      <a:pt x="91250" y="91445"/>
                      <a:pt x="95595" y="99454"/>
                      <a:pt x="98231" y="110682"/>
                    </a:cubicBezTo>
                    <a:cubicBezTo>
                      <a:pt x="98836" y="113267"/>
                      <a:pt x="101138" y="115091"/>
                      <a:pt x="103794" y="115091"/>
                    </a:cubicBezTo>
                    <a:lnTo>
                      <a:pt x="128169" y="114449"/>
                    </a:lnTo>
                    <a:lnTo>
                      <a:pt x="128816" y="152679"/>
                    </a:lnTo>
                    <a:lnTo>
                      <a:pt x="103794" y="152679"/>
                    </a:lnTo>
                    <a:cubicBezTo>
                      <a:pt x="101143" y="152679"/>
                      <a:pt x="98836" y="154502"/>
                      <a:pt x="98231" y="157079"/>
                    </a:cubicBezTo>
                    <a:cubicBezTo>
                      <a:pt x="95701" y="167850"/>
                      <a:pt x="91632" y="175450"/>
                      <a:pt x="88367" y="180863"/>
                    </a:cubicBezTo>
                    <a:cubicBezTo>
                      <a:pt x="87018" y="183105"/>
                      <a:pt x="87362" y="185979"/>
                      <a:pt x="89214" y="187839"/>
                    </a:cubicBezTo>
                    <a:lnTo>
                      <a:pt x="107269" y="205095"/>
                    </a:lnTo>
                    <a:lnTo>
                      <a:pt x="79256" y="234060"/>
                    </a:lnTo>
                    <a:lnTo>
                      <a:pt x="60285" y="215922"/>
                    </a:lnTo>
                    <a:cubicBezTo>
                      <a:pt x="58424" y="214154"/>
                      <a:pt x="55611" y="213829"/>
                      <a:pt x="53411" y="215141"/>
                    </a:cubicBezTo>
                    <a:cubicBezTo>
                      <a:pt x="45268" y="219996"/>
                      <a:pt x="37719" y="223075"/>
                      <a:pt x="28929" y="225121"/>
                    </a:cubicBezTo>
                    <a:cubicBezTo>
                      <a:pt x="26339" y="225716"/>
                      <a:pt x="24506" y="228023"/>
                      <a:pt x="24506" y="230684"/>
                    </a:cubicBezTo>
                    <a:lnTo>
                      <a:pt x="25153" y="256338"/>
                    </a:lnTo>
                    <a:lnTo>
                      <a:pt x="5716" y="256338"/>
                    </a:lnTo>
                    <a:cubicBezTo>
                      <a:pt x="2558" y="256338"/>
                      <a:pt x="0" y="258896"/>
                      <a:pt x="0" y="262050"/>
                    </a:cubicBezTo>
                    <a:cubicBezTo>
                      <a:pt x="0" y="265202"/>
                      <a:pt x="2558" y="267761"/>
                      <a:pt x="5716" y="267761"/>
                    </a:cubicBezTo>
                    <a:lnTo>
                      <a:pt x="25153" y="267761"/>
                    </a:lnTo>
                    <a:cubicBezTo>
                      <a:pt x="31101" y="267761"/>
                      <a:pt x="35938" y="262924"/>
                      <a:pt x="35938" y="256979"/>
                    </a:cubicBezTo>
                    <a:lnTo>
                      <a:pt x="35938" y="235111"/>
                    </a:lnTo>
                    <a:cubicBezTo>
                      <a:pt x="42714" y="233204"/>
                      <a:pt x="49072" y="230609"/>
                      <a:pt x="55467" y="227130"/>
                    </a:cubicBezTo>
                    <a:lnTo>
                      <a:pt x="71363" y="242329"/>
                    </a:lnTo>
                    <a:cubicBezTo>
                      <a:pt x="75591" y="246348"/>
                      <a:pt x="82353" y="246264"/>
                      <a:pt x="86451" y="242134"/>
                    </a:cubicBezTo>
                    <a:lnTo>
                      <a:pt x="115361" y="213168"/>
                    </a:lnTo>
                    <a:cubicBezTo>
                      <a:pt x="119542" y="208973"/>
                      <a:pt x="119551" y="202155"/>
                      <a:pt x="115374" y="197951"/>
                    </a:cubicBezTo>
                    <a:lnTo>
                      <a:pt x="100404" y="182882"/>
                    </a:lnTo>
                    <a:cubicBezTo>
                      <a:pt x="103092" y="178017"/>
                      <a:pt x="105975" y="171887"/>
                      <a:pt x="108208" y="164102"/>
                    </a:cubicBezTo>
                    <a:lnTo>
                      <a:pt x="128816" y="164102"/>
                    </a:lnTo>
                    <a:cubicBezTo>
                      <a:pt x="134764" y="164102"/>
                      <a:pt x="139601" y="159264"/>
                      <a:pt x="139601" y="153321"/>
                    </a:cubicBezTo>
                    <a:lnTo>
                      <a:pt x="139601" y="114449"/>
                    </a:lnTo>
                    <a:cubicBezTo>
                      <a:pt x="139601" y="108505"/>
                      <a:pt x="134764" y="103668"/>
                      <a:pt x="128816" y="103668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4BEB1806-F32C-3C51-3074-0E25AF1919D5}"/>
                  </a:ext>
                </a:extLst>
              </p:cNvPr>
              <p:cNvSpPr/>
              <p:nvPr/>
            </p:nvSpPr>
            <p:spPr>
              <a:xfrm>
                <a:off x="2522140" y="3809021"/>
                <a:ext cx="68331" cy="124307"/>
              </a:xfrm>
              <a:custGeom>
                <a:avLst/>
                <a:gdLst>
                  <a:gd name="connsiteX0" fmla="*/ 5716 w 68331"/>
                  <a:gd name="connsiteY0" fmla="*/ 112886 h 124307"/>
                  <a:gd name="connsiteX1" fmla="*/ 0 w 68331"/>
                  <a:gd name="connsiteY1" fmla="*/ 118597 h 124307"/>
                  <a:gd name="connsiteX2" fmla="*/ 5716 w 68331"/>
                  <a:gd name="connsiteY2" fmla="*/ 124308 h 124307"/>
                  <a:gd name="connsiteX3" fmla="*/ 68331 w 68331"/>
                  <a:gd name="connsiteY3" fmla="*/ 62154 h 124307"/>
                  <a:gd name="connsiteX4" fmla="*/ 5716 w 68331"/>
                  <a:gd name="connsiteY4" fmla="*/ 0 h 124307"/>
                  <a:gd name="connsiteX5" fmla="*/ 0 w 68331"/>
                  <a:gd name="connsiteY5" fmla="*/ 5711 h 124307"/>
                  <a:gd name="connsiteX6" fmla="*/ 5716 w 68331"/>
                  <a:gd name="connsiteY6" fmla="*/ 11422 h 124307"/>
                  <a:gd name="connsiteX7" fmla="*/ 56899 w 68331"/>
                  <a:gd name="connsiteY7" fmla="*/ 62154 h 124307"/>
                  <a:gd name="connsiteX8" fmla="*/ 5716 w 68331"/>
                  <a:gd name="connsiteY8" fmla="*/ 112886 h 124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331" h="124307">
                    <a:moveTo>
                      <a:pt x="5716" y="112886"/>
                    </a:moveTo>
                    <a:cubicBezTo>
                      <a:pt x="2558" y="112886"/>
                      <a:pt x="0" y="115444"/>
                      <a:pt x="0" y="118597"/>
                    </a:cubicBezTo>
                    <a:cubicBezTo>
                      <a:pt x="0" y="121750"/>
                      <a:pt x="2558" y="124308"/>
                      <a:pt x="5716" y="124308"/>
                    </a:cubicBezTo>
                    <a:cubicBezTo>
                      <a:pt x="40240" y="124308"/>
                      <a:pt x="68331" y="96431"/>
                      <a:pt x="68331" y="62154"/>
                    </a:cubicBezTo>
                    <a:cubicBezTo>
                      <a:pt x="68331" y="27877"/>
                      <a:pt x="40240" y="0"/>
                      <a:pt x="5716" y="0"/>
                    </a:cubicBezTo>
                    <a:cubicBezTo>
                      <a:pt x="2558" y="0"/>
                      <a:pt x="0" y="2557"/>
                      <a:pt x="0" y="5711"/>
                    </a:cubicBezTo>
                    <a:cubicBezTo>
                      <a:pt x="0" y="8864"/>
                      <a:pt x="2558" y="11422"/>
                      <a:pt x="5716" y="11422"/>
                    </a:cubicBezTo>
                    <a:cubicBezTo>
                      <a:pt x="33938" y="11422"/>
                      <a:pt x="56899" y="34183"/>
                      <a:pt x="56899" y="62154"/>
                    </a:cubicBezTo>
                    <a:cubicBezTo>
                      <a:pt x="56899" y="90125"/>
                      <a:pt x="33938" y="112886"/>
                      <a:pt x="5716" y="11288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srgbClr val="303E4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85" name="Title 7">
            <a:extLst>
              <a:ext uri="{FF2B5EF4-FFF2-40B4-BE49-F238E27FC236}">
                <a16:creationId xmlns:a16="http://schemas.microsoft.com/office/drawing/2014/main" id="{9517FCED-F05C-5797-6CA4-4490CE80B2D2}"/>
              </a:ext>
            </a:extLst>
          </p:cNvPr>
          <p:cNvSpPr txBox="1">
            <a:spLocks/>
          </p:cNvSpPr>
          <p:nvPr/>
        </p:nvSpPr>
        <p:spPr>
          <a:xfrm>
            <a:off x="511910" y="404813"/>
            <a:ext cx="765641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80C342"/>
                </a:solidFill>
                <a:effectLst/>
                <a:uLnTx/>
                <a:uFillTx/>
                <a:latin typeface="Pluto Sans Bold" panose="02000000000000000000" pitchFamily="50" charset="0"/>
                <a:ea typeface="+mj-ea"/>
                <a:cs typeface="+mj-cs"/>
              </a:rPr>
              <a:t>Holistic coaching to help your employees reach their best health and work outcomes</a:t>
            </a:r>
          </a:p>
        </p:txBody>
      </p:sp>
    </p:spTree>
    <p:extLst>
      <p:ext uri="{BB962C8B-B14F-4D97-AF65-F5344CB8AC3E}">
        <p14:creationId xmlns:p14="http://schemas.microsoft.com/office/powerpoint/2010/main" val="181884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9BB72259-A7A0-4B19-9DB7-D216C14383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4048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3521C35C-9177-4F77-B3F9-4F94794692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51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FB8BF1E9-E315-499D-9FDA-B8CF5435EE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" y="0"/>
            <a:ext cx="1218937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879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EAE7611F-1B4A-4262-80A7-60D77D7224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552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ext&#10;&#10;Description automatically generated with medium confidence">
            <a:extLst>
              <a:ext uri="{FF2B5EF4-FFF2-40B4-BE49-F238E27FC236}">
                <a16:creationId xmlns:a16="http://schemas.microsoft.com/office/drawing/2014/main" id="{2282F66C-A1A2-4E67-932C-E62B1C2636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615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imeline&#10;&#10;Description automatically generated">
            <a:extLst>
              <a:ext uri="{FF2B5EF4-FFF2-40B4-BE49-F238E27FC236}">
                <a16:creationId xmlns:a16="http://schemas.microsoft.com/office/drawing/2014/main" id="{E173C9D6-D28F-43A7-AAB5-16B42BCB9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3045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D9ECB63A-406B-4E07-A34F-8A87514437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696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1559B2F-C9ED-EBE4-E850-99CD37B17E4E}"/>
              </a:ext>
            </a:extLst>
          </p:cNvPr>
          <p:cNvSpPr/>
          <p:nvPr/>
        </p:nvSpPr>
        <p:spPr>
          <a:xfrm>
            <a:off x="11315700" y="0"/>
            <a:ext cx="8763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oogle Shape;447;p6">
            <a:extLst>
              <a:ext uri="{FF2B5EF4-FFF2-40B4-BE49-F238E27FC236}">
                <a16:creationId xmlns:a16="http://schemas.microsoft.com/office/drawing/2014/main" id="{9AE5A04D-429D-CDB5-0C40-B63D4946A3D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4198"/>
          <a:stretch/>
        </p:blipFill>
        <p:spPr>
          <a:xfrm flipH="1">
            <a:off x="0" y="0"/>
            <a:ext cx="11779917" cy="686261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AD4F481-EC79-259B-C9AF-C90B2914BA7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1908" y="6536339"/>
            <a:ext cx="80150" cy="1384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D8D59-B415-4074-B425-DC47C63101D6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to Sans Light" panose="020000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to Sans Light" panose="02000000000000000000" pitchFamily="50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FF6D912-20F6-B0A3-1689-90D2B0359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6858" y="583588"/>
            <a:ext cx="5833473" cy="1415772"/>
          </a:xfr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en-US" sz="3200" dirty="0">
                <a:solidFill>
                  <a:schemeClr val="accent1"/>
                </a:solidFill>
                <a:latin typeface="Pluto Sans Bold" panose="02000000000000000000" pitchFamily="50" charset="0"/>
              </a:rPr>
              <a:t>Introducing</a:t>
            </a:r>
            <a:r>
              <a:rPr lang="en-US" sz="3200" dirty="0">
                <a:latin typeface="Pluto Sans Bold" panose="02000000000000000000" pitchFamily="50" charset="0"/>
              </a:rPr>
              <a:t> </a:t>
            </a:r>
            <a:br>
              <a:rPr lang="en-US" sz="3200" dirty="0">
                <a:latin typeface="Pluto Sans Bold" panose="02000000000000000000" pitchFamily="50" charset="0"/>
              </a:rPr>
            </a:br>
            <a:r>
              <a:rPr lang="en-US" sz="3200" dirty="0">
                <a:latin typeface="Pluto Sans Bold" panose="02000000000000000000" pitchFamily="50" charset="0"/>
              </a:rPr>
              <a:t>TAL Health for Life</a:t>
            </a:r>
            <a:br>
              <a:rPr lang="en-US" sz="2800" dirty="0">
                <a:solidFill>
                  <a:srgbClr val="80C342"/>
                </a:solidFill>
                <a:latin typeface="Pluto Sans Bold" panose="02000000000000000000" pitchFamily="50" charset="0"/>
              </a:rPr>
            </a:br>
            <a:endParaRPr lang="en-AU" sz="2800" dirty="0">
              <a:latin typeface="Pluto Sans Bold" panose="02000000000000000000" pitchFamily="50" charset="0"/>
            </a:endParaRP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A1A45D7-BB67-F0BA-E061-E19455CE296C}"/>
              </a:ext>
            </a:extLst>
          </p:cNvPr>
          <p:cNvSpPr txBox="1">
            <a:spLocks/>
          </p:cNvSpPr>
          <p:nvPr/>
        </p:nvSpPr>
        <p:spPr>
          <a:xfrm>
            <a:off x="8263468" y="1999360"/>
            <a:ext cx="3408896" cy="3704061"/>
          </a:xfrm>
          <a:prstGeom prst="rect">
            <a:avLst/>
          </a:prstGeom>
        </p:spPr>
        <p:txBody>
          <a:bodyPr lIns="0" tIns="45720" rIns="0" bIns="4572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/>
                <a:ea typeface="Calibri" panose="020F0502020204030204" pitchFamily="34" charset="0"/>
                <a:cs typeface="Times New Roman"/>
              </a:rPr>
              <a:t>Helping your employees live a better life through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/>
                <a:ea typeface="Calibri" panose="020F0502020204030204" pitchFamily="34" charset="0"/>
                <a:cs typeface="Times New Roman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Medium"/>
                <a:ea typeface="Calibri" panose="020F0502020204030204" pitchFamily="34" charset="0"/>
                <a:cs typeface="Times New Roman"/>
              </a:rPr>
              <a:t>good health. 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Medium" panose="02000000000000000000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TAL Health for Life</a:t>
            </a: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srgbClr val="303E46"/>
                </a:solidFill>
                <a:effectLst/>
                <a:uLnTx/>
                <a:uFillTx/>
                <a:latin typeface="Pluto Sans Light"/>
                <a:ea typeface="Calibri" panose="020F0502020204030204" pitchFamily="34" charset="0"/>
                <a:cs typeface="Times New Roman"/>
              </a:rPr>
              <a:t> is here to protect and support your members’ wellbeing at every stage of their health journey. This includes enabling them to live a healthy life before making a claim and supporting them at claim time and as they manage their health condition.</a:t>
            </a:r>
            <a:endParaRPr kumimoji="0" lang="en-AU" sz="1600" b="0" i="0" u="none" strike="noStrike" kern="1200" cap="none" spc="0" normalizeH="0" baseline="0" noProof="0" dirty="0">
              <a:ln>
                <a:noFill/>
              </a:ln>
              <a:solidFill>
                <a:srgbClr val="303E46"/>
              </a:solidFill>
              <a:effectLst/>
              <a:uLnTx/>
              <a:uFillTx/>
              <a:latin typeface="Pluto Sans Light" panose="02000000000000000000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E4D7D44-63EF-77BD-82C5-FA3B598807BE}"/>
              </a:ext>
            </a:extLst>
          </p:cNvPr>
          <p:cNvCxnSpPr/>
          <p:nvPr/>
        </p:nvCxnSpPr>
        <p:spPr>
          <a:xfrm>
            <a:off x="501650" y="6445852"/>
            <a:ext cx="432000" cy="0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</a:ln>
          <a:effectLst/>
        </p:spPr>
      </p:cxnSp>
      <p:pic>
        <p:nvPicPr>
          <p:cNvPr id="10" name="Picture 9" descr="A circular logo with text&#10;&#10;Description automatically generated">
            <a:extLst>
              <a:ext uri="{FF2B5EF4-FFF2-40B4-BE49-F238E27FC236}">
                <a16:creationId xmlns:a16="http://schemas.microsoft.com/office/drawing/2014/main" id="{39406F77-A7B7-1253-CE1D-7C3B713E56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062" y="1380843"/>
            <a:ext cx="4096313" cy="4096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702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7FFFBB0-35E9-4A8F-BDCB-1F8CDDFEF1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596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lient &amp; Large Forum Presentations Only_Widescreen_TAL Template_A4_Georgia &amp; Arial">
  <a:themeElements>
    <a:clrScheme name="TAL">
      <a:dk1>
        <a:srgbClr val="303E46"/>
      </a:dk1>
      <a:lt1>
        <a:sysClr val="window" lastClr="FFFFFF"/>
      </a:lt1>
      <a:dk2>
        <a:srgbClr val="ABACAE"/>
      </a:dk2>
      <a:lt2>
        <a:srgbClr val="000000"/>
      </a:lt2>
      <a:accent1>
        <a:srgbClr val="80C342"/>
      </a:accent1>
      <a:accent2>
        <a:srgbClr val="2FB3B6"/>
      </a:accent2>
      <a:accent3>
        <a:srgbClr val="F7931E"/>
      </a:accent3>
      <a:accent4>
        <a:srgbClr val="F15A24"/>
      </a:accent4>
      <a:accent5>
        <a:srgbClr val="EEEEEE"/>
      </a:accent5>
      <a:accent6>
        <a:srgbClr val="AAD8C8"/>
      </a:accent6>
      <a:hlink>
        <a:srgbClr val="80C342"/>
      </a:hlink>
      <a:folHlink>
        <a:srgbClr val="2FB3B6"/>
      </a:folHlink>
    </a:clrScheme>
    <a:fontScheme name="TAL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l">
          <a:spcAft>
            <a:spcPts val="600"/>
          </a:spcAft>
          <a:defRPr sz="1200" dirty="0" smtClean="0">
            <a:latin typeface="Pluto Sans Bold" panose="02000000000000000000" pitchFamily="50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ient &amp; Large Forum Presentations Only_Widescreen_TAL Template_A4_Georgia &amp; Arial_v01.potx" id="{6CD6775C-AAC2-4FE5-B970-9C7FFEC10010}" vid="{717EF2E2-42EE-41DA-A211-1433BF07DB8E}"/>
    </a:ext>
  </a:extLst>
</a:theme>
</file>

<file path=ppt/theme/theme3.xml><?xml version="1.0" encoding="utf-8"?>
<a:theme xmlns:a="http://schemas.openxmlformats.org/drawingml/2006/main" name="3_Client &amp; Large Forum Presentations Only_Widescreen_TAL Template_A4_Georgia &amp; Arial">
  <a:themeElements>
    <a:clrScheme name="TAL">
      <a:dk1>
        <a:srgbClr val="303E46"/>
      </a:dk1>
      <a:lt1>
        <a:sysClr val="window" lastClr="FFFFFF"/>
      </a:lt1>
      <a:dk2>
        <a:srgbClr val="ABACAE"/>
      </a:dk2>
      <a:lt2>
        <a:srgbClr val="000000"/>
      </a:lt2>
      <a:accent1>
        <a:srgbClr val="80C342"/>
      </a:accent1>
      <a:accent2>
        <a:srgbClr val="2FB3B6"/>
      </a:accent2>
      <a:accent3>
        <a:srgbClr val="F7931E"/>
      </a:accent3>
      <a:accent4>
        <a:srgbClr val="F15A24"/>
      </a:accent4>
      <a:accent5>
        <a:srgbClr val="EEEEEE"/>
      </a:accent5>
      <a:accent6>
        <a:srgbClr val="AAD8C8"/>
      </a:accent6>
      <a:hlink>
        <a:srgbClr val="80C342"/>
      </a:hlink>
      <a:folHlink>
        <a:srgbClr val="2FB3B6"/>
      </a:folHlink>
    </a:clrScheme>
    <a:fontScheme name="TAL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ient &amp; Large Forum Presentations Only_Widescreen_TAL Template_A4_Georgia &amp; Arial_v01.potx" id="{6CD6775C-AAC2-4FE5-B970-9C7FFEC10010}" vid="{717EF2E2-42EE-41DA-A211-1433BF07DB8E}"/>
    </a:ext>
  </a:extLst>
</a:theme>
</file>

<file path=ppt/theme/theme4.xml><?xml version="1.0" encoding="utf-8"?>
<a:theme xmlns:a="http://schemas.openxmlformats.org/drawingml/2006/main" name="1_Client &amp; Large Forum Presentations Only_Widescreen_TAL Template_A4_Georgia &amp; Arial">
  <a:themeElements>
    <a:clrScheme name="TAL">
      <a:dk1>
        <a:srgbClr val="303E46"/>
      </a:dk1>
      <a:lt1>
        <a:sysClr val="window" lastClr="FFFFFF"/>
      </a:lt1>
      <a:dk2>
        <a:srgbClr val="ABACAE"/>
      </a:dk2>
      <a:lt2>
        <a:srgbClr val="000000"/>
      </a:lt2>
      <a:accent1>
        <a:srgbClr val="80C342"/>
      </a:accent1>
      <a:accent2>
        <a:srgbClr val="2FB3B6"/>
      </a:accent2>
      <a:accent3>
        <a:srgbClr val="F7931E"/>
      </a:accent3>
      <a:accent4>
        <a:srgbClr val="F15A24"/>
      </a:accent4>
      <a:accent5>
        <a:srgbClr val="EEEEEE"/>
      </a:accent5>
      <a:accent6>
        <a:srgbClr val="AAD8C8"/>
      </a:accent6>
      <a:hlink>
        <a:srgbClr val="80C342"/>
      </a:hlink>
      <a:folHlink>
        <a:srgbClr val="2FB3B6"/>
      </a:folHlink>
    </a:clrScheme>
    <a:fontScheme name="TAL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lient &amp; Large Forum Presentations Only_Widescreen_TAL Template_A4_Georgia &amp; Arial_v01.potx" id="{6CD6775C-AAC2-4FE5-B970-9C7FFEC10010}" vid="{717EF2E2-42EE-41DA-A211-1433BF07DB8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93737DF470BB45B0214CEAD88F4540" ma:contentTypeVersion="14" ma:contentTypeDescription="Create a new document." ma:contentTypeScope="" ma:versionID="73fcc4df6fa52c4e4bc45fbf786f8542">
  <xsd:schema xmlns:xsd="http://www.w3.org/2001/XMLSchema" xmlns:xs="http://www.w3.org/2001/XMLSchema" xmlns:p="http://schemas.microsoft.com/office/2006/metadata/properties" xmlns:ns2="8cd0df6f-30a8-43a5-9779-ca722440c83b" xmlns:ns3="25033174-e494-4f9c-8547-b6e7a32049a0" targetNamespace="http://schemas.microsoft.com/office/2006/metadata/properties" ma:root="true" ma:fieldsID="4cd8d26049cd3c8d254e60893d3d92ea" ns2:_="" ns3:_="">
    <xsd:import namespace="8cd0df6f-30a8-43a5-9779-ca722440c83b"/>
    <xsd:import namespace="25033174-e494-4f9c-8547-b6e7a32049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d0df6f-30a8-43a5-9779-ca722440c8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4212b1a-394c-41fa-a723-ed48dbbddaa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33174-e494-4f9c-8547-b6e7a32049a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c67af8f2-b964-44be-ba0a-81cc32c1d7b8}" ma:internalName="TaxCatchAll" ma:showField="CatchAllData" ma:web="25033174-e494-4f9c-8547-b6e7a32049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5033174-e494-4f9c-8547-b6e7a32049a0">
      <UserInfo>
        <DisplayName>Krystal Rhian</DisplayName>
        <AccountId>75</AccountId>
        <AccountType/>
      </UserInfo>
    </SharedWithUsers>
    <TaxCatchAll xmlns="25033174-e494-4f9c-8547-b6e7a32049a0"/>
    <lcf76f155ced4ddcb4097134ff3c332f xmlns="8cd0df6f-30a8-43a5-9779-ca722440c83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D2249CE-2657-4DBC-8C10-16CE01F296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d0df6f-30a8-43a5-9779-ca722440c83b"/>
    <ds:schemaRef ds:uri="25033174-e494-4f9c-8547-b6e7a32049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3B1313D-6869-4A5E-9D72-96854036F24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12C359-B510-4B19-9102-DB417AA7EB59}">
  <ds:schemaRefs>
    <ds:schemaRef ds:uri="http://schemas.microsoft.com/office/2006/metadata/properties"/>
    <ds:schemaRef ds:uri="25033174-e494-4f9c-8547-b6e7a32049a0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8cd0df6f-30a8-43a5-9779-ca722440c83b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</TotalTime>
  <Words>1022</Words>
  <Application>Microsoft Office PowerPoint</Application>
  <PresentationFormat>Widescreen</PresentationFormat>
  <Paragraphs>142</Paragraphs>
  <Slides>15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Office Theme</vt:lpstr>
      <vt:lpstr>Client &amp; Large Forum Presentations Only_Widescreen_TAL Template_A4_Georgia &amp; Arial</vt:lpstr>
      <vt:lpstr>3_Client &amp; Large Forum Presentations Only_Widescreen_TAL Template_A4_Georgia &amp; Arial</vt:lpstr>
      <vt:lpstr>1_Client &amp; Large Forum Presentations Only_Widescreen_TAL Template_A4_Georgia &amp; Ari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roducing  TAL Health for Life </vt:lpstr>
      <vt:lpstr>PowerPoint Presentation</vt:lpstr>
      <vt:lpstr>PowerPoint Presentation</vt:lpstr>
      <vt:lpstr>Engaging and supporting your employees on their health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DM slide library_Insurance and health (for GHQ)</dc:title>
  <dc:creator>Lachlan OFlynn</dc:creator>
  <cp:lastModifiedBy>Suzanne Matthews</cp:lastModifiedBy>
  <cp:revision>4</cp:revision>
  <dcterms:created xsi:type="dcterms:W3CDTF">2022-11-29T03:05:45Z</dcterms:created>
  <dcterms:modified xsi:type="dcterms:W3CDTF">2023-10-22T23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93737DF470BB45B0214CEAD88F4540</vt:lpwstr>
  </property>
  <property fmtid="{D5CDD505-2E9C-101B-9397-08002B2CF9AE}" pid="3" name="MediaServiceImageTags">
    <vt:lpwstr/>
  </property>
</Properties>
</file>